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95"/>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 id="2147475216" r:id="rId50"/>
    <p:sldId id="2147475217" r:id="rId51"/>
    <p:sldId id="2147475218" r:id="rId52"/>
    <p:sldId id="2147475219" r:id="rId53"/>
    <p:sldId id="2147475220" r:id="rId54"/>
    <p:sldId id="2147475221" r:id="rId55"/>
    <p:sldId id="2147475222" r:id="rId56"/>
    <p:sldId id="2147475223" r:id="rId57"/>
    <p:sldId id="2147475224" r:id="rId58"/>
    <p:sldId id="2147475225" r:id="rId59"/>
    <p:sldId id="2147475226" r:id="rId60"/>
    <p:sldId id="2147475227" r:id="rId61"/>
    <p:sldId id="2147475228" r:id="rId62"/>
    <p:sldId id="2147475229" r:id="rId63"/>
    <p:sldId id="2147475230" r:id="rId64"/>
    <p:sldId id="2147475231" r:id="rId65"/>
    <p:sldId id="2147475232" r:id="rId66"/>
    <p:sldId id="2147475233" r:id="rId67"/>
    <p:sldId id="2147475234" r:id="rId68"/>
    <p:sldId id="2147475235" r:id="rId69"/>
    <p:sldId id="2147475236" r:id="rId70"/>
    <p:sldId id="2147475237" r:id="rId71"/>
    <p:sldId id="2147475238" r:id="rId72"/>
    <p:sldId id="2147475239" r:id="rId73"/>
    <p:sldId id="2147475240" r:id="rId74"/>
    <p:sldId id="2147475241" r:id="rId75"/>
    <p:sldId id="2147475242" r:id="rId76"/>
    <p:sldId id="2147475243" r:id="rId77"/>
    <p:sldId id="2147475244" r:id="rId78"/>
    <p:sldId id="2147475245" r:id="rId79"/>
    <p:sldId id="2147475246" r:id="rId80"/>
    <p:sldId id="2147475247" r:id="rId81"/>
    <p:sldId id="2147475248" r:id="rId82"/>
    <p:sldId id="2147475249" r:id="rId83"/>
    <p:sldId id="2147475250" r:id="rId84"/>
    <p:sldId id="2147475251" r:id="rId85"/>
    <p:sldId id="2147475252" r:id="rId86"/>
    <p:sldId id="2147475253" r:id="rId87"/>
    <p:sldId id="2147475254" r:id="rId88"/>
    <p:sldId id="2147475255" r:id="rId89"/>
    <p:sldId id="2147475256" r:id="rId90"/>
    <p:sldId id="2147475257" r:id="rId91"/>
    <p:sldId id="2147475258" r:id="rId92"/>
    <p:sldId id="2147475259" r:id="rId93"/>
    <p:sldId id="2147475260" r:id="rId9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5422154E-0F08-44FB-9E13-E83F61F6D0D2}">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Lst>
        </p14:section>
        <p14:section name="Brackets By Sector" id="{24E47D38-9D4A-4D85-9A7F-17EC9E046A56}">
          <p14:sldIdLst>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Lst>
        </p14:section>
        <p14:section name="Brackets By Segment" id="{CCFACE63-6F6C-46F3-9840-029A590AE423}">
          <p14:sldIdLst>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62" d="100"/>
          <a:sy n="62" d="100"/>
        </p:scale>
        <p:origin x="53" y="62"/>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notesMaster" Target="notesMasters/notesMaster1.xml"/><Relationship Id="rId96" Type="http://schemas.openxmlformats.org/officeDocument/2006/relationships/presProps" Target="presProps.xml"/><Relationship Id="rId97" Type="http://schemas.openxmlformats.org/officeDocument/2006/relationships/viewProps" Target="viewProps.xml"/><Relationship Id="rId98" Type="http://schemas.openxmlformats.org/officeDocument/2006/relationships/theme" Target="theme/theme1.xml"/><Relationship Id="rId99" Type="http://schemas.openxmlformats.org/officeDocument/2006/relationships/tableStyles" Target="tableStyles.xml"/><Relationship Id="rId100" Type="http://schemas.microsoft.com/office/2015/10/relationships/revisionInfo" Target="revisionInfo.xml"/><Relationship Id="rId101"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36</c:v>
                </c:pt>
                <c:pt idx="4">
                  <c:v>0.18575803512433944</c:v>
                </c:pt>
                <c:pt idx="5">
                  <c:v>0.02352800400703838</c:v>
                </c:pt>
                <c:pt idx="6">
                  <c:v>0.110079271481584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9156522563560794</c:v>
                </c:pt>
                <c:pt idx="4">
                  <c:v>0.04173916199661438</c:v>
                </c:pt>
                <c:pt idx="5">
                  <c:v>0.001182156503618183</c:v>
                </c:pt>
                <c:pt idx="6">
                  <c:v>0.01837095123680547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407711693623543</c:v>
                </c:pt>
                <c:pt idx="2">
                  <c:v>0.0008493697688871372</c:v>
                </c:pt>
                <c:pt idx="3">
                  <c:v>0.17522840497178355</c:v>
                </c:pt>
                <c:pt idx="4">
                  <c:v>0.11866978005458789</c:v>
                </c:pt>
                <c:pt idx="5">
                  <c:v>0.16003965190514902</c:v>
                </c:pt>
                <c:pt idx="6">
                  <c:v>0.533805081605968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2</c:v>
                </c:pt>
                <c:pt idx="1">
                  <c:v>0.06983355347252945</c:v>
                </c:pt>
                <c:pt idx="2">
                  <c:v>0.016376470044223303</c:v>
                </c:pt>
                <c:pt idx="3">
                  <c:v>0.31902660341686145</c:v>
                </c:pt>
                <c:pt idx="4">
                  <c:v>0.3389449232189925</c:v>
                </c:pt>
                <c:pt idx="5">
                  <c:v>0.03479636360013413</c:v>
                </c:pt>
                <c:pt idx="6">
                  <c:v>0.161366343032767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6598935437421412</c:v>
                </c:pt>
                <c:pt idx="5">
                  <c:v>0.000924981627180410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798</c:v>
                </c:pt>
                <c:pt idx="1">
                  <c:v>0.21727502818623307</c:v>
                </c:pt>
                <c:pt idx="2">
                  <c:v>0.04545537627416124</c:v>
                </c:pt>
                <c:pt idx="3">
                  <c:v>0.23071033091784018</c:v>
                </c:pt>
                <c:pt idx="4">
                  <c:v>0.18360819686882338</c:v>
                </c:pt>
                <c:pt idx="5">
                  <c:v>0.02243806510617429</c:v>
                </c:pt>
                <c:pt idx="6">
                  <c:v>0.101910158591319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291922676740965</c:v>
                </c:pt>
                <c:pt idx="4">
                  <c:v>0.03997271682547283</c:v>
                </c:pt>
                <c:pt idx="5">
                  <c:v>0.0013302100294657144</c:v>
                </c:pt>
                <c:pt idx="6">
                  <c:v>0.0145989915180397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48</c:v>
                </c:pt>
                <c:pt idx="1">
                  <c:v>0.20313119777623</c:v>
                </c:pt>
                <c:pt idx="2">
                  <c:v>0.039642177084380455</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025713460481185</c:v>
                </c:pt>
                <c:pt idx="4">
                  <c:v>0.03760946151966599</c:v>
                </c:pt>
                <c:pt idx="5">
                  <c:v>0.0008985903243941322</c:v>
                </c:pt>
                <c:pt idx="6">
                  <c:v>0.01585971165522187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c:v>
                </c:pt>
                <c:pt idx="1">
                  <c:v>0.27146093098752233</c:v>
                </c:pt>
                <c:pt idx="2">
                  <c:v>0.06689162484511396</c:v>
                </c:pt>
                <c:pt idx="3">
                  <c:v>0.217436817453512</c:v>
                </c:pt>
                <c:pt idx="4">
                  <c:v>0.03107895822899907</c:v>
                </c:pt>
                <c:pt idx="5">
                  <c:v>0.013155685106098637</c:v>
                </c:pt>
                <c:pt idx="6">
                  <c:v>0.036789010997512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025307305089959</c:v>
                </c:pt>
                <c:pt idx="4">
                  <c:v>0.010993292593136462</c:v>
                </c:pt>
                <c:pt idx="5">
                  <c:v>0.0015623254380348816</c:v>
                </c:pt>
                <c:pt idx="6">
                  <c:v>0.002644984411895766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59866233758669</c:v>
                </c:pt>
                <c:pt idx="2">
                  <c:v>0.0008635871429484475</c:v>
                </c:pt>
                <c:pt idx="3">
                  <c:v>0.17816150651472493</c:v>
                </c:pt>
                <c:pt idx="4">
                  <c:v>0.12065616185743926</c:v>
                </c:pt>
                <c:pt idx="5">
                  <c:v>0.1620275953714027</c:v>
                </c:pt>
                <c:pt idx="6">
                  <c:v>0.52669248677589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5593408363733361</c:v>
                </c:pt>
                <c:pt idx="4">
                  <c:v>0.00993304746042903</c:v>
                </c:pt>
                <c:pt idx="5">
                  <c:v>0.013736245980386048</c:v>
                </c:pt>
                <c:pt idx="6">
                  <c:v>0.00995846116319435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5</c:v>
                </c:pt>
                <c:pt idx="1">
                  <c:v>0.07078537756227361</c:v>
                </c:pt>
                <c:pt idx="2">
                  <c:v>0.015553589937334276</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57667783549627004</c:v>
                </c:pt>
                <c:pt idx="4">
                  <c:v>0.06507986221690501</c:v>
                </c:pt>
                <c:pt idx="5">
                  <c:v>0.0017848557843856722</c:v>
                </c:pt>
                <c:pt idx="6">
                  <c:v>0.0327526852088932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798</c:v>
                </c:pt>
                <c:pt idx="1">
                  <c:v>0.21727502818623307</c:v>
                </c:pt>
                <c:pt idx="2">
                  <c:v>0.04545537627416124</c:v>
                </c:pt>
                <c:pt idx="3">
                  <c:v>0.23071033091784018</c:v>
                </c:pt>
                <c:pt idx="4">
                  <c:v>0.18360819686882338</c:v>
                </c:pt>
                <c:pt idx="5">
                  <c:v>0.02243806510617429</c:v>
                </c:pt>
                <c:pt idx="6">
                  <c:v>0.101910158591319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9505463662323612</c:v>
                </c:pt>
                <c:pt idx="4">
                  <c:v>0.0386372633049537</c:v>
                </c:pt>
                <c:pt idx="5">
                  <c:v>0.00319468351837024</c:v>
                </c:pt>
                <c:pt idx="6">
                  <c:v>0.00579395301396869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48</c:v>
                </c:pt>
                <c:pt idx="1">
                  <c:v>0.20313119777623</c:v>
                </c:pt>
                <c:pt idx="2">
                  <c:v>0.039642177084380455</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4</c:v>
                </c:pt>
                <c:pt idx="3">
                  <c:v>0.21189801082888213</c:v>
                </c:pt>
                <c:pt idx="4">
                  <c:v>0.0348912720561147</c:v>
                </c:pt>
                <c:pt idx="5">
                  <c:v>0.014775448871255988</c:v>
                </c:pt>
                <c:pt idx="6">
                  <c:v>0.0439110282318079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8639121225981975</c:v>
                </c:pt>
                <c:pt idx="4">
                  <c:v>0.032972590313037446</c:v>
                </c:pt>
                <c:pt idx="5">
                  <c:v>0.00306172923553757</c:v>
                </c:pt>
                <c:pt idx="6">
                  <c:v>0.00620126335975833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c:v>
                </c:pt>
                <c:pt idx="1">
                  <c:v>0.27146093098752233</c:v>
                </c:pt>
                <c:pt idx="2">
                  <c:v>0.06689162484511396</c:v>
                </c:pt>
                <c:pt idx="3">
                  <c:v>0.217436817453512</c:v>
                </c:pt>
                <c:pt idx="4">
                  <c:v>0.03107895822899907</c:v>
                </c:pt>
                <c:pt idx="5">
                  <c:v>0.013155685106098637</c:v>
                </c:pt>
                <c:pt idx="6">
                  <c:v>0.036789010997512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326183427670883</c:v>
                </c:pt>
                <c:pt idx="4">
                  <c:v>0.0016861596904735865</c:v>
                </c:pt>
                <c:pt idx="5">
                  <c:v>0.0007215315255223505</c:v>
                </c:pt>
                <c:pt idx="6">
                  <c:v>0.00593632316586468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9818773572826585</c:v>
                </c:pt>
                <c:pt idx="4">
                  <c:v>0.014622076329802522</c:v>
                </c:pt>
                <c:pt idx="5">
                  <c:v>0.0032390174171978304</c:v>
                </c:pt>
                <c:pt idx="6">
                  <c:v>0.002658524170850826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59866233758669</c:v>
                </c:pt>
                <c:pt idx="2">
                  <c:v>0.0008635871429484475</c:v>
                </c:pt>
                <c:pt idx="3">
                  <c:v>0.17816150651472493</c:v>
                </c:pt>
                <c:pt idx="4">
                  <c:v>0.12065616185743926</c:v>
                </c:pt>
                <c:pt idx="5">
                  <c:v>0.1620275953714027</c:v>
                </c:pt>
                <c:pt idx="6">
                  <c:v>0.52669248677589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7340929570211598</c:v>
                </c:pt>
                <c:pt idx="4">
                  <c:v>0.01062631890933484</c:v>
                </c:pt>
                <c:pt idx="5">
                  <c:v>0.05777831256045728</c:v>
                </c:pt>
                <c:pt idx="6">
                  <c:v>0.00842182980415330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5</c:v>
                </c:pt>
                <c:pt idx="1">
                  <c:v>0.07078537756227361</c:v>
                </c:pt>
                <c:pt idx="2">
                  <c:v>0.015553589937334276</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4651973056325685</c:v>
                </c:pt>
                <c:pt idx="4">
                  <c:v>0.07117578190289715</c:v>
                </c:pt>
                <c:pt idx="5">
                  <c:v>0.008611645077015189</c:v>
                </c:pt>
                <c:pt idx="6">
                  <c:v>0.00654972448373505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193261037906299</c:v>
                </c:pt>
                <c:pt idx="4">
                  <c:v>0.043975784559535394</c:v>
                </c:pt>
                <c:pt idx="5">
                  <c:v>0.0020908153334124125</c:v>
                </c:pt>
                <c:pt idx="6">
                  <c:v>0.01661220049146949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798</c:v>
                </c:pt>
                <c:pt idx="1">
                  <c:v>0.21727502818623307</c:v>
                </c:pt>
                <c:pt idx="2">
                  <c:v>0.04545537627416124</c:v>
                </c:pt>
                <c:pt idx="3">
                  <c:v>0.23071033091784018</c:v>
                </c:pt>
                <c:pt idx="4">
                  <c:v>0.18360819686882338</c:v>
                </c:pt>
                <c:pt idx="5">
                  <c:v>0.02243806510617429</c:v>
                </c:pt>
                <c:pt idx="6">
                  <c:v>0.101910158591319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6087383290716273</c:v>
                </c:pt>
                <c:pt idx="5">
                  <c:v>0.001709569977420109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48</c:v>
                </c:pt>
                <c:pt idx="1">
                  <c:v>0.20313119777623</c:v>
                </c:pt>
                <c:pt idx="2">
                  <c:v>0.039642177084380455</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11835232992679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c:v>
                </c:pt>
                <c:pt idx="1">
                  <c:v>0.27146093098752233</c:v>
                </c:pt>
                <c:pt idx="2">
                  <c:v>0.06689162484511396</c:v>
                </c:pt>
                <c:pt idx="3">
                  <c:v>0.217436817453512</c:v>
                </c:pt>
                <c:pt idx="4">
                  <c:v>0.03107895822899907</c:v>
                </c:pt>
                <c:pt idx="5">
                  <c:v>0.013155685106098637</c:v>
                </c:pt>
                <c:pt idx="6">
                  <c:v>0.036789010997512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59866233758669</c:v>
                </c:pt>
                <c:pt idx="2">
                  <c:v>0.0008635871429484475</c:v>
                </c:pt>
                <c:pt idx="3">
                  <c:v>0.17816150651472493</c:v>
                </c:pt>
                <c:pt idx="4">
                  <c:v>0.12065616185743926</c:v>
                </c:pt>
                <c:pt idx="5">
                  <c:v>0.1620275953714027</c:v>
                </c:pt>
                <c:pt idx="6">
                  <c:v>0.52669248677589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5</c:v>
                </c:pt>
                <c:pt idx="1">
                  <c:v>0.07078537756227361</c:v>
                </c:pt>
                <c:pt idx="2">
                  <c:v>0.015553589937334276</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692069353859459</c:v>
                </c:pt>
                <c:pt idx="5">
                  <c:v>0.000970082891589498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705139088674349</c:v>
                </c:pt>
                <c:pt idx="1">
                  <c:v>0.05480119930033748</c:v>
                </c:pt>
                <c:pt idx="2">
                  <c:v>0.053102395161357265</c:v>
                </c:pt>
                <c:pt idx="3">
                  <c:v>0.3460055757425347</c:v>
                </c:pt>
                <c:pt idx="5">
                  <c:v>0.01196888028766207</c:v>
                </c:pt>
                <c:pt idx="6">
                  <c:v>0.063602132945861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554944977014372</c:v>
                </c:pt>
                <c:pt idx="1">
                  <c:v>0.21349314176736545</c:v>
                </c:pt>
                <c:pt idx="2">
                  <c:v>0.045726014619145515</c:v>
                </c:pt>
                <c:pt idx="3">
                  <c:v>0.188514932913315</c:v>
                </c:pt>
                <c:pt idx="4">
                  <c:v>0.1911745765054369</c:v>
                </c:pt>
                <c:pt idx="5">
                  <c:v>0.02963935124171819</c:v>
                </c:pt>
                <c:pt idx="6">
                  <c:v>0.1259025331828752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506998283856618</c:v>
                </c:pt>
                <c:pt idx="4">
                  <c:v>0.02803111892015399</c:v>
                </c:pt>
                <c:pt idx="5">
                  <c:v>0.002179884792790977</c:v>
                </c:pt>
                <c:pt idx="6">
                  <c:v>0.00874945000586933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8776680471487734</c:v>
                </c:pt>
                <c:pt idx="6">
                  <c:v>0.122331952851226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0.1223319528512265</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45839130262452</c:v>
                </c:pt>
                <c:pt idx="1">
                  <c:v>0.4914595851343907</c:v>
                </c:pt>
                <c:pt idx="2">
                  <c:v>0.012849030110361134</c:v>
                </c:pt>
                <c:pt idx="3">
                  <c:v>0.046895605146208316</c:v>
                </c:pt>
                <c:pt idx="4">
                  <c:v>0.0019392234946241896</c:v>
                </c:pt>
                <c:pt idx="5">
                  <c:v>0.00101742585196364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407711693623543</c:v>
                </c:pt>
                <c:pt idx="2">
                  <c:v>0.0008493697688871372</c:v>
                </c:pt>
                <c:pt idx="3">
                  <c:v>0.17522840497178355</c:v>
                </c:pt>
                <c:pt idx="4">
                  <c:v>0.11866978005458789</c:v>
                </c:pt>
                <c:pt idx="5">
                  <c:v>0.16003965190514902</c:v>
                </c:pt>
                <c:pt idx="6">
                  <c:v>0.533805081605968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995533587667234</c:v>
                </c:pt>
                <c:pt idx="1">
                  <c:v>0.4738683058636317</c:v>
                </c:pt>
                <c:pt idx="2">
                  <c:v>0.14579589568035858</c:v>
                </c:pt>
                <c:pt idx="3">
                  <c:v>0.09935466851916305</c:v>
                </c:pt>
                <c:pt idx="4">
                  <c:v>0.2110252931179186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965445382408175</c:v>
                </c:pt>
                <c:pt idx="1">
                  <c:v>0.034554617591825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8635029126853426</c:v>
                </c:pt>
                <c:pt idx="1">
                  <c:v>0.03416672340283251</c:v>
                </c:pt>
                <c:pt idx="2">
                  <c:v>0.00272966456690357</c:v>
                </c:pt>
                <c:pt idx="3">
                  <c:v>0.4279190418121717</c:v>
                </c:pt>
                <c:pt idx="4">
                  <c:v>0.24118560212982318</c:v>
                </c:pt>
                <c:pt idx="5">
                  <c:v>0.02924373517641475</c:v>
                </c:pt>
                <c:pt idx="6">
                  <c:v>0.1784049416433200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12187769289831998</c:v>
                </c:pt>
                <c:pt idx="4">
                  <c:v>0.12550493895390463</c:v>
                </c:pt>
                <c:pt idx="5">
                  <c:v>0.0012950770856719335</c:v>
                </c:pt>
                <c:pt idx="6">
                  <c:v>0.04925878742254908</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4127282932009446</c:v>
                </c:pt>
                <c:pt idx="1">
                  <c:v>0.03408125795951394</c:v>
                </c:pt>
                <c:pt idx="2">
                  <c:v>0.004787404713353019</c:v>
                </c:pt>
                <c:pt idx="3">
                  <c:v>0.46936510767245726</c:v>
                </c:pt>
                <c:pt idx="4">
                  <c:v>0.3770497196062956</c:v>
                </c:pt>
                <c:pt idx="5">
                  <c:v>0.008676211063393363</c:v>
                </c:pt>
                <c:pt idx="6">
                  <c:v>0.0647674696648923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5501323182018693</c:v>
                </c:pt>
                <c:pt idx="4">
                  <c:v>0.009769518102139246</c:v>
                </c:pt>
                <c:pt idx="5">
                  <c:v>0.013510103953034239</c:v>
                </c:pt>
                <c:pt idx="6">
                  <c:v>0.023440149253016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592234402682928</c:v>
                </c:pt>
                <c:pt idx="2">
                  <c:v>0.05001403601733544</c:v>
                </c:pt>
                <c:pt idx="4">
                  <c:v>0.890762523714371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7312888297619565</c:v>
                </c:pt>
                <c:pt idx="1">
                  <c:v>0.05921946908798007</c:v>
                </c:pt>
                <c:pt idx="3">
                  <c:v>0.14501371612813357</c:v>
                </c:pt>
                <c:pt idx="4">
                  <c:v>0.032597735276449984</c:v>
                </c:pt>
                <c:pt idx="5">
                  <c:v>0.019552445565358713</c:v>
                </c:pt>
                <c:pt idx="6">
                  <c:v>0.01232780418012123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3000055859243626</c:v>
                </c:pt>
                <c:pt idx="1">
                  <c:v>0.0009537551864291189</c:v>
                </c:pt>
                <c:pt idx="2">
                  <c:v>0.22403350597124166</c:v>
                </c:pt>
                <c:pt idx="3">
                  <c:v>0.7003680332255438</c:v>
                </c:pt>
                <c:pt idx="4">
                  <c:v>0.03269431528167085</c:v>
                </c:pt>
                <c:pt idx="5">
                  <c:v>0.01893393904187477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254255808956343</c:v>
                </c:pt>
                <c:pt idx="1">
                  <c:v>0.12133702885660513</c:v>
                </c:pt>
                <c:pt idx="2">
                  <c:v>0.06667497385961521</c:v>
                </c:pt>
                <c:pt idx="3">
                  <c:v>0.31407829541600935</c:v>
                </c:pt>
                <c:pt idx="4">
                  <c:v>0.0009276067136325474</c:v>
                </c:pt>
                <c:pt idx="5">
                  <c:v>0.010646160467327366</c:v>
                </c:pt>
                <c:pt idx="6">
                  <c:v>0.0609103537911761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205005147984321</c:v>
                </c:pt>
                <c:pt idx="1">
                  <c:v>0.20415707198366714</c:v>
                </c:pt>
                <c:pt idx="2">
                  <c:v>0.03502014810194364</c:v>
                </c:pt>
                <c:pt idx="3">
                  <c:v>0.21813190338652202</c:v>
                </c:pt>
                <c:pt idx="4">
                  <c:v>0.19447307684090834</c:v>
                </c:pt>
                <c:pt idx="5">
                  <c:v>0.02690649974158581</c:v>
                </c:pt>
                <c:pt idx="6">
                  <c:v>0.1008107851469408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0407999722962304</c:v>
                </c:pt>
                <c:pt idx="4">
                  <c:v>0.02782409359254079</c:v>
                </c:pt>
                <c:pt idx="5">
                  <c:v>0.0010968053984174446</c:v>
                </c:pt>
                <c:pt idx="6">
                  <c:v>0.009809648137964904</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427174519284424</c:v>
                </c:pt>
                <c:pt idx="1">
                  <c:v>0.5874236572186359</c:v>
                </c:pt>
                <c:pt idx="2">
                  <c:v>0.015154433036041857</c:v>
                </c:pt>
                <c:pt idx="3">
                  <c:v>0.05246622508191151</c:v>
                </c:pt>
                <c:pt idx="4">
                  <c:v>0.001998176428375430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4383755279408464</c:v>
                </c:pt>
                <c:pt idx="1">
                  <c:v>0.31880605087927877</c:v>
                </c:pt>
                <c:pt idx="2">
                  <c:v>0.12692761118319387</c:v>
                </c:pt>
                <c:pt idx="3">
                  <c:v>0.2509872878297742</c:v>
                </c:pt>
                <c:pt idx="4">
                  <c:v>0.054185838455291235</c:v>
                </c:pt>
                <c:pt idx="5">
                  <c:v>0.00525511747416305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9579213400797534</c:v>
                </c:pt>
                <c:pt idx="1">
                  <c:v>0.04207865992024656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044861310621091</c:v>
                </c:pt>
                <c:pt idx="1">
                  <c:v>0.032311526189170936</c:v>
                </c:pt>
                <c:pt idx="2">
                  <c:v>0.006869211005558524</c:v>
                </c:pt>
                <c:pt idx="3">
                  <c:v>0.46365745761636096</c:v>
                </c:pt>
                <c:pt idx="4">
                  <c:v>0.22138887704198426</c:v>
                </c:pt>
                <c:pt idx="5">
                  <c:v>0.01571487316116536</c:v>
                </c:pt>
                <c:pt idx="6">
                  <c:v>0.1696094418795490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1417879159605416</c:v>
                </c:pt>
                <c:pt idx="4">
                  <c:v>0.1132051880598899</c:v>
                </c:pt>
                <c:pt idx="5">
                  <c:v>0.0017548768805348445</c:v>
                </c:pt>
                <c:pt idx="6">
                  <c:v>0.05196763370165189</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47788473348301955</c:v>
                </c:pt>
                <c:pt idx="1">
                  <c:v>0.03087338715127845</c:v>
                </c:pt>
                <c:pt idx="2">
                  <c:v>0.004528427896066678</c:v>
                </c:pt>
                <c:pt idx="3">
                  <c:v>0.5661067702925141</c:v>
                </c:pt>
                <c:pt idx="4">
                  <c:v>0.26625364894735826</c:v>
                </c:pt>
                <c:pt idx="5">
                  <c:v>0.019778098686692152</c:v>
                </c:pt>
                <c:pt idx="6">
                  <c:v>0.0646711936777883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6224215333265946</c:v>
                </c:pt>
                <c:pt idx="2">
                  <c:v>0.0498232715115799</c:v>
                </c:pt>
                <c:pt idx="3">
                  <c:v>0.022265980150304582</c:v>
                </c:pt>
                <c:pt idx="4">
                  <c:v>0.7918940252152868</c:v>
                </c:pt>
                <c:pt idx="5">
                  <c:v>0.0737745697901691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7441490677310971</c:v>
                </c:pt>
                <c:pt idx="1">
                  <c:v>0.06006645909130818</c:v>
                </c:pt>
                <c:pt idx="3">
                  <c:v>0.15104715629610754</c:v>
                </c:pt>
                <c:pt idx="4">
                  <c:v>0.03304225136462239</c:v>
                </c:pt>
                <c:pt idx="5">
                  <c:v>0.009774181494242782</c:v>
                </c:pt>
                <c:pt idx="6">
                  <c:v>0.00192088402262200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3647083687077304</c:v>
                </c:pt>
                <c:pt idx="2">
                  <c:v>0.22294442613728951</c:v>
                </c:pt>
                <c:pt idx="3">
                  <c:v>0.7004405097689816</c:v>
                </c:pt>
                <c:pt idx="4">
                  <c:v>0.03913055316916241</c:v>
                </c:pt>
                <c:pt idx="5">
                  <c:v>0.0138205672329352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6596995115484796</c:v>
                </c:pt>
                <c:pt idx="1">
                  <c:v>0.10257587208875503</c:v>
                </c:pt>
                <c:pt idx="2">
                  <c:v>0.1529487140931163</c:v>
                </c:pt>
                <c:pt idx="3">
                  <c:v>0.2679724724061426</c:v>
                </c:pt>
                <c:pt idx="6">
                  <c:v>0.01053299025713811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717836751221237</c:v>
                </c:pt>
                <c:pt idx="1">
                  <c:v>0.2740138666152588</c:v>
                </c:pt>
                <c:pt idx="2">
                  <c:v>0.05866806154514953</c:v>
                </c:pt>
                <c:pt idx="3">
                  <c:v>0.20227419113305734</c:v>
                </c:pt>
                <c:pt idx="4">
                  <c:v>0.03888314191618723</c:v>
                </c:pt>
                <c:pt idx="5">
                  <c:v>0.0222420247911988</c:v>
                </c:pt>
                <c:pt idx="6">
                  <c:v>0.0321350388770246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4764580759444677</c:v>
                </c:pt>
                <c:pt idx="4">
                  <c:v>0.011918114395029045</c:v>
                </c:pt>
                <c:pt idx="5">
                  <c:v>0.0017327013496574524</c:v>
                </c:pt>
                <c:pt idx="6">
                  <c:v>0.000842402735265649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8875779925593945</c:v>
                </c:pt>
                <c:pt idx="1">
                  <c:v>0.5752159864784312</c:v>
                </c:pt>
                <c:pt idx="2">
                  <c:v>0.011465866538799985</c:v>
                </c:pt>
                <c:pt idx="3">
                  <c:v>0.02411937051886058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886554184883766</c:v>
                </c:pt>
                <c:pt idx="1">
                  <c:v>0.3025085585497987</c:v>
                </c:pt>
                <c:pt idx="2">
                  <c:v>0.18000402739537627</c:v>
                </c:pt>
                <c:pt idx="3">
                  <c:v>0.128830178028959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22911896255625</c:v>
                </c:pt>
                <c:pt idx="1">
                  <c:v>0.07626907480042845</c:v>
                </c:pt>
                <c:pt idx="2">
                  <c:v>0.007349549300869373</c:v>
                </c:pt>
                <c:pt idx="3">
                  <c:v>0.4724437321218864</c:v>
                </c:pt>
                <c:pt idx="4">
                  <c:v>0.0665313881103903</c:v>
                </c:pt>
                <c:pt idx="5">
                  <c:v>0.015152051012852654</c:v>
                </c:pt>
                <c:pt idx="6">
                  <c:v>0.1393423083979478</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1691516759506813</c:v>
                </c:pt>
                <c:pt idx="4">
                  <c:v>0.039276718444238815</c:v>
                </c:pt>
                <c:pt idx="5">
                  <c:v>0.005449991540524727</c:v>
                </c:pt>
                <c:pt idx="6">
                  <c:v>0.01630718362815507</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566034747625948</c:v>
                </c:pt>
                <c:pt idx="1">
                  <c:v>0.06538075392389973</c:v>
                </c:pt>
                <c:pt idx="2">
                  <c:v>0.02043997693680165</c:v>
                </c:pt>
                <c:pt idx="3">
                  <c:v>0.6383288386884003</c:v>
                </c:pt>
                <c:pt idx="4">
                  <c:v>0.048038426203087785</c:v>
                </c:pt>
                <c:pt idx="5">
                  <c:v>0.019514535367360697</c:v>
                </c:pt>
                <c:pt idx="6">
                  <c:v>0.1126371214041903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26299025154860396</c:v>
                </c:pt>
                <c:pt idx="5">
                  <c:v>0.973700974845139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8482979377515762</c:v>
                </c:pt>
                <c:pt idx="2">
                  <c:v>0.15171227594969547</c:v>
                </c:pt>
                <c:pt idx="3">
                  <c:v>0.05830613935369741</c:v>
                </c:pt>
                <c:pt idx="4">
                  <c:v>0.557754293073987</c:v>
                </c:pt>
                <c:pt idx="5">
                  <c:v>0.04676690393094721</c:v>
                </c:pt>
                <c:pt idx="6">
                  <c:v>0.000630593916515248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9093612590959939</c:v>
                </c:pt>
                <c:pt idx="1">
                  <c:v>0.08147562772049133</c:v>
                </c:pt>
                <c:pt idx="4">
                  <c:v>0.00916311318351479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2</c:v>
                </c:pt>
                <c:pt idx="1">
                  <c:v>0.06983355347252945</c:v>
                </c:pt>
                <c:pt idx="2">
                  <c:v>0.016376470044223303</c:v>
                </c:pt>
                <c:pt idx="3">
                  <c:v>0.31902660341686145</c:v>
                </c:pt>
                <c:pt idx="4">
                  <c:v>0.3389449232189925</c:v>
                </c:pt>
                <c:pt idx="5">
                  <c:v>0.03479636360013413</c:v>
                </c:pt>
                <c:pt idx="6">
                  <c:v>0.161366343032767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672271772221716</c:v>
                </c:pt>
                <c:pt idx="2">
                  <c:v>0.2657467969552628</c:v>
                </c:pt>
                <c:pt idx="3">
                  <c:v>0.654194680252781</c:v>
                </c:pt>
                <c:pt idx="4">
                  <c:v>0.049860403177317186</c:v>
                </c:pt>
                <c:pt idx="5">
                  <c:v>0.001525847842417175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5775588772528332</c:v>
                </c:pt>
                <c:pt idx="4">
                  <c:v>0.06737168280577122</c:v>
                </c:pt>
                <c:pt idx="5">
                  <c:v>0.0017201227303588037</c:v>
                </c:pt>
                <c:pt idx="6">
                  <c:v>0.0368717104515123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15237979434738663</c:v>
                </c:pt>
                <c:pt idx="4">
                  <c:v>0.08727761880142774</c:v>
                </c:pt>
                <c:pt idx="5">
                  <c:v>0.19270874120502546</c:v>
                </c:pt>
                <c:pt idx="6">
                  <c:v>0.567633845646160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6465914474085999</c:v>
                </c:pt>
                <c:pt idx="5">
                  <c:v>0.0176118041452938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709771377422016</c:v>
                </c:pt>
                <c:pt idx="4">
                  <c:v>0.529022862257798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4033548930492743</c:v>
                </c:pt>
                <c:pt idx="3">
                  <c:v>0.1675586836088393</c:v>
                </c:pt>
                <c:pt idx="4">
                  <c:v>0.08303099418800744</c:v>
                </c:pt>
                <c:pt idx="5">
                  <c:v>0.09460913930707035</c:v>
                </c:pt>
                <c:pt idx="6">
                  <c:v>0.6507676339655901</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6125083620765155</c:v>
                </c:pt>
                <c:pt idx="4">
                  <c:v>0.026685226283846612</c:v>
                </c:pt>
                <c:pt idx="5">
                  <c:v>0.010474630531315627</c:v>
                </c:pt>
                <c:pt idx="6">
                  <c:v>0.0465128976295493</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30588851371442544</c:v>
                </c:pt>
                <c:pt idx="4">
                  <c:v>0.16043994528766925</c:v>
                </c:pt>
                <c:pt idx="5">
                  <c:v>0.5131081625775586</c:v>
                </c:pt>
                <c:pt idx="6">
                  <c:v>0.02056337842034664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2571553004295403</c:v>
                </c:pt>
                <c:pt idx="1">
                  <c:v>0.2808081548449442</c:v>
                </c:pt>
                <c:pt idx="2">
                  <c:v>0.020025433559831017</c:v>
                </c:pt>
                <c:pt idx="3">
                  <c:v>0.22623373302232158</c:v>
                </c:pt>
                <c:pt idx="4">
                  <c:v>0.0027710716762535926</c:v>
                </c:pt>
                <c:pt idx="5">
                  <c:v>0.04101025238768189</c:v>
                </c:pt>
                <c:pt idx="6">
                  <c:v>0.2034358244660137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7184072841983793</c:v>
                </c:pt>
                <c:pt idx="1">
                  <c:v>0.07399162517056909</c:v>
                </c:pt>
                <c:pt idx="2">
                  <c:v>0.007846917482467831</c:v>
                </c:pt>
                <c:pt idx="3">
                  <c:v>0.25724379741581105</c:v>
                </c:pt>
                <c:pt idx="4">
                  <c:v>0.36281008134405784</c:v>
                </c:pt>
                <c:pt idx="5">
                  <c:v>0.043374889901846306</c:v>
                </c:pt>
                <c:pt idx="6">
                  <c:v>0.1828919602654098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5999705136000724</c:v>
                </c:pt>
                <c:pt idx="4">
                  <c:v>0.038576478967695775</c:v>
                </c:pt>
                <c:pt idx="5">
                  <c:v>0.0006272724323866256</c:v>
                </c:pt>
                <c:pt idx="6">
                  <c:v>0.02079962559053186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7311415226292007</c:v>
                </c:pt>
                <c:pt idx="1">
                  <c:v>0.3362105296020981</c:v>
                </c:pt>
                <c:pt idx="2">
                  <c:v>0.2599442882782264</c:v>
                </c:pt>
                <c:pt idx="3">
                  <c:v>0.203723833133904</c:v>
                </c:pt>
                <c:pt idx="4">
                  <c:v>0.026134271923351476</c:v>
                </c:pt>
                <c:pt idx="5">
                  <c:v>0.000859534760998031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0442710963556906</c:v>
                </c:pt>
                <c:pt idx="1">
                  <c:v>0.1709434712643166</c:v>
                </c:pt>
                <c:pt idx="2">
                  <c:v>0.014353314807084067</c:v>
                </c:pt>
                <c:pt idx="3">
                  <c:v>0.34846564657796025</c:v>
                </c:pt>
                <c:pt idx="4">
                  <c:v>0.3372930683007926</c:v>
                </c:pt>
                <c:pt idx="5">
                  <c:v>0.0245156638303330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6347937360632474</c:v>
                </c:pt>
                <c:pt idx="1">
                  <c:v>0.5348183013491903</c:v>
                </c:pt>
                <c:pt idx="2">
                  <c:v>0.001702325044484987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3905432487862183</c:v>
                </c:pt>
                <c:pt idx="1">
                  <c:v>0.012128541643948871</c:v>
                </c:pt>
                <c:pt idx="2">
                  <c:v>0.0023479955188701737</c:v>
                </c:pt>
                <c:pt idx="3">
                  <c:v>0.4243133457259381</c:v>
                </c:pt>
                <c:pt idx="4">
                  <c:v>0.3469752856084496</c:v>
                </c:pt>
                <c:pt idx="5">
                  <c:v>0.015892492452106218</c:v>
                </c:pt>
                <c:pt idx="6">
                  <c:v>0.1844369065628247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1282283686652365</c:v>
                </c:pt>
                <c:pt idx="4">
                  <c:v>0.1478614347494501</c:v>
                </c:pt>
                <c:pt idx="5">
                  <c:v>0.004717298412556905</c:v>
                </c:pt>
                <c:pt idx="6">
                  <c:v>0.07228459673523284</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437923659685317</c:v>
                </c:pt>
                <c:pt idx="1">
                  <c:v>0.007596083239261455</c:v>
                </c:pt>
                <c:pt idx="2">
                  <c:v>0.0017574592387550264</c:v>
                </c:pt>
                <c:pt idx="3">
                  <c:v>0.41139745326147154</c:v>
                </c:pt>
                <c:pt idx="4">
                  <c:v>0.48114396609056365</c:v>
                </c:pt>
                <c:pt idx="5">
                  <c:v>0.03425374132558745</c:v>
                </c:pt>
                <c:pt idx="6">
                  <c:v>0.03947206024750779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804803887884535</c:v>
                </c:pt>
                <c:pt idx="4">
                  <c:v>0.8598226265881037</c:v>
                </c:pt>
                <c:pt idx="5">
                  <c:v>0.11212933453305092</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696621622410942</c:v>
                </c:pt>
                <c:pt idx="1">
                  <c:v>0.0375120664686708</c:v>
                </c:pt>
                <c:pt idx="2">
                  <c:v>0.004941362511180589</c:v>
                </c:pt>
                <c:pt idx="3">
                  <c:v>0.5509666414466601</c:v>
                </c:pt>
                <c:pt idx="4">
                  <c:v>0.09360999927182585</c:v>
                </c:pt>
                <c:pt idx="5">
                  <c:v>0.03612249991919993</c:v>
                </c:pt>
                <c:pt idx="6">
                  <c:v>0.0071852681413685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9785988096060494</c:v>
                </c:pt>
                <c:pt idx="3">
                  <c:v>0.929801259128993</c:v>
                </c:pt>
                <c:pt idx="5">
                  <c:v>0.058630009773384104</c:v>
                </c:pt>
                <c:pt idx="6">
                  <c:v>0.0017827430015623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705139088674349</c:v>
                </c:pt>
                <c:pt idx="1">
                  <c:v>0.05480119930033748</c:v>
                </c:pt>
                <c:pt idx="2">
                  <c:v>0.053102395161357265</c:v>
                </c:pt>
                <c:pt idx="3">
                  <c:v>0.3460055757425347</c:v>
                </c:pt>
                <c:pt idx="5">
                  <c:v>0.01196888028766207</c:v>
                </c:pt>
                <c:pt idx="6">
                  <c:v>0.063602132945861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554944977014372</c:v>
                </c:pt>
                <c:pt idx="1">
                  <c:v>0.21349314176736545</c:v>
                </c:pt>
                <c:pt idx="2">
                  <c:v>0.045726014619145515</c:v>
                </c:pt>
                <c:pt idx="3">
                  <c:v>0.188514932913315</c:v>
                </c:pt>
                <c:pt idx="4">
                  <c:v>0.1911745765054369</c:v>
                </c:pt>
                <c:pt idx="5">
                  <c:v>0.02963935124171819</c:v>
                </c:pt>
                <c:pt idx="6">
                  <c:v>0.1259025331828752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1006819112456818</c:v>
                </c:pt>
                <c:pt idx="4">
                  <c:v>0.046222790648612545</c:v>
                </c:pt>
                <c:pt idx="5">
                  <c:v>0.002763274785386235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8776680471487734</c:v>
                </c:pt>
                <c:pt idx="6">
                  <c:v>0.122331952851226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45839130262452</c:v>
                </c:pt>
                <c:pt idx="1">
                  <c:v>0.4914595851343907</c:v>
                </c:pt>
                <c:pt idx="2">
                  <c:v>0.012849030110361134</c:v>
                </c:pt>
                <c:pt idx="3">
                  <c:v>0.046895605146208316</c:v>
                </c:pt>
                <c:pt idx="4">
                  <c:v>0.0019392234946241896</c:v>
                </c:pt>
                <c:pt idx="5">
                  <c:v>0.00101742585196364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36</c:v>
                </c:pt>
                <c:pt idx="4">
                  <c:v>0.18575803512433944</c:v>
                </c:pt>
                <c:pt idx="5">
                  <c:v>0.02352800400703838</c:v>
                </c:pt>
                <c:pt idx="6">
                  <c:v>0.110079271481584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81395521216357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995533587667234</c:v>
                </c:pt>
                <c:pt idx="1">
                  <c:v>0.4738683058636317</c:v>
                </c:pt>
                <c:pt idx="2">
                  <c:v>0.14579589568035858</c:v>
                </c:pt>
                <c:pt idx="3">
                  <c:v>0.09935466851916305</c:v>
                </c:pt>
                <c:pt idx="4">
                  <c:v>0.2110252931179186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965445382408175</c:v>
                </c:pt>
                <c:pt idx="1">
                  <c:v>0.034554617591825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8635029126853426</c:v>
                </c:pt>
                <c:pt idx="1">
                  <c:v>0.03416672340283251</c:v>
                </c:pt>
                <c:pt idx="2">
                  <c:v>0.00272966456690357</c:v>
                </c:pt>
                <c:pt idx="3">
                  <c:v>0.4279190418121717</c:v>
                </c:pt>
                <c:pt idx="4">
                  <c:v>0.24118560212982318</c:v>
                </c:pt>
                <c:pt idx="5">
                  <c:v>0.02924373517641475</c:v>
                </c:pt>
                <c:pt idx="6">
                  <c:v>0.1784049416433200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7490953145780126</c:v>
                </c:pt>
                <c:pt idx="4">
                  <c:v>0.026573563628055304</c:v>
                </c:pt>
                <c:pt idx="5">
                  <c:v>0.004279797571821323</c:v>
                </c:pt>
                <c:pt idx="6">
                  <c:v>0.019409943471395644</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4127282932009446</c:v>
                </c:pt>
                <c:pt idx="1">
                  <c:v>0.03408125795951394</c:v>
                </c:pt>
                <c:pt idx="2">
                  <c:v>0.004787404713353019</c:v>
                </c:pt>
                <c:pt idx="3">
                  <c:v>0.46936510767245726</c:v>
                </c:pt>
                <c:pt idx="4">
                  <c:v>0.3770497196062956</c:v>
                </c:pt>
                <c:pt idx="5">
                  <c:v>0.008676211063393363</c:v>
                </c:pt>
                <c:pt idx="6">
                  <c:v>0.0647674696648923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1213582051175734</c:v>
                </c:pt>
                <c:pt idx="4">
                  <c:v>0.3297590936327634</c:v>
                </c:pt>
                <c:pt idx="5">
                  <c:v>0.0007338309626431069</c:v>
                </c:pt>
                <c:pt idx="6">
                  <c:v>0.0533674793373794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858424793256474</c:v>
                </c:pt>
                <c:pt idx="4">
                  <c:v>0.03772070056055571</c:v>
                </c:pt>
                <c:pt idx="5">
                  <c:v>0.003473856458799219</c:v>
                </c:pt>
                <c:pt idx="6">
                  <c:v>0.01076906958703235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1.0</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592234402682928</c:v>
                </c:pt>
                <c:pt idx="2">
                  <c:v>0.05001403601733544</c:v>
                </c:pt>
                <c:pt idx="4">
                  <c:v>0.890762523714371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7312888297619565</c:v>
                </c:pt>
                <c:pt idx="1">
                  <c:v>0.05921946908798007</c:v>
                </c:pt>
                <c:pt idx="3">
                  <c:v>0.14501371612813357</c:v>
                </c:pt>
                <c:pt idx="4">
                  <c:v>0.032597735276449984</c:v>
                </c:pt>
                <c:pt idx="5">
                  <c:v>0.019552445565358713</c:v>
                </c:pt>
                <c:pt idx="6">
                  <c:v>0.01232780418012123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6368640957720454</c:v>
                </c:pt>
                <c:pt idx="4">
                  <c:v>0.02206583190898416</c:v>
                </c:pt>
                <c:pt idx="5">
                  <c:v>0.010627538945125428</c:v>
                </c:pt>
                <c:pt idx="6">
                  <c:v>0.001039049547539771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3000055859243626</c:v>
                </c:pt>
                <c:pt idx="1">
                  <c:v>0.0009537551864291189</c:v>
                </c:pt>
                <c:pt idx="2">
                  <c:v>0.22403350597124166</c:v>
                </c:pt>
                <c:pt idx="3">
                  <c:v>0.7003680332255438</c:v>
                </c:pt>
                <c:pt idx="4">
                  <c:v>0.03269431528167085</c:v>
                </c:pt>
                <c:pt idx="5">
                  <c:v>0.01893393904187477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254255808956343</c:v>
                </c:pt>
                <c:pt idx="1">
                  <c:v>0.12133702885660513</c:v>
                </c:pt>
                <c:pt idx="2">
                  <c:v>0.06667497385961521</c:v>
                </c:pt>
                <c:pt idx="3">
                  <c:v>0.31407829541600935</c:v>
                </c:pt>
                <c:pt idx="4">
                  <c:v>0.0009276067136325474</c:v>
                </c:pt>
                <c:pt idx="5">
                  <c:v>0.010646160467327366</c:v>
                </c:pt>
                <c:pt idx="6">
                  <c:v>0.0609103537911761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205005147984321</c:v>
                </c:pt>
                <c:pt idx="1">
                  <c:v>0.20415707198366714</c:v>
                </c:pt>
                <c:pt idx="2">
                  <c:v>0.03502014810194364</c:v>
                </c:pt>
                <c:pt idx="3">
                  <c:v>0.21813190338652202</c:v>
                </c:pt>
                <c:pt idx="4">
                  <c:v>0.19447307684090834</c:v>
                </c:pt>
                <c:pt idx="5">
                  <c:v>0.02690649974158581</c:v>
                </c:pt>
                <c:pt idx="6">
                  <c:v>0.1008107851469408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36699459500779</c:v>
                </c:pt>
                <c:pt idx="4">
                  <c:v>0.04181263220868148</c:v>
                </c:pt>
                <c:pt idx="5">
                  <c:v>0.00191827588216831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427174519284424</c:v>
                </c:pt>
                <c:pt idx="1">
                  <c:v>0.5874236572186359</c:v>
                </c:pt>
                <c:pt idx="2">
                  <c:v>0.015154433036041857</c:v>
                </c:pt>
                <c:pt idx="3">
                  <c:v>0.05246622508191151</c:v>
                </c:pt>
                <c:pt idx="4">
                  <c:v>0.001998176428375430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785764765919317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4383755279408464</c:v>
                </c:pt>
                <c:pt idx="1">
                  <c:v>0.31880605087927877</c:v>
                </c:pt>
                <c:pt idx="2">
                  <c:v>0.12692761118319387</c:v>
                </c:pt>
                <c:pt idx="3">
                  <c:v>0.2509872878297742</c:v>
                </c:pt>
                <c:pt idx="4">
                  <c:v>0.054185838455291235</c:v>
                </c:pt>
                <c:pt idx="5">
                  <c:v>0.00525511747416305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9579213400797534</c:v>
                </c:pt>
                <c:pt idx="1">
                  <c:v>0.04207865992024656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044861310621091</c:v>
                </c:pt>
                <c:pt idx="1">
                  <c:v>0.032311526189170936</c:v>
                </c:pt>
                <c:pt idx="2">
                  <c:v>0.006869211005558524</c:v>
                </c:pt>
                <c:pt idx="3">
                  <c:v>0.46365745761636096</c:v>
                </c:pt>
                <c:pt idx="4">
                  <c:v>0.22138887704198426</c:v>
                </c:pt>
                <c:pt idx="5">
                  <c:v>0.01571487316116536</c:v>
                </c:pt>
                <c:pt idx="6">
                  <c:v>0.1696094418795490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8053666337335331</c:v>
                </c:pt>
                <c:pt idx="4">
                  <c:v>0.024541623224562964</c:v>
                </c:pt>
                <c:pt idx="5">
                  <c:v>0.0033812597291690578</c:v>
                </c:pt>
                <c:pt idx="6">
                  <c:v>0.02044811526594578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47788473348301955</c:v>
                </c:pt>
                <c:pt idx="1">
                  <c:v>0.03087338715127845</c:v>
                </c:pt>
                <c:pt idx="2">
                  <c:v>0.004528427896066678</c:v>
                </c:pt>
                <c:pt idx="3">
                  <c:v>0.5661067702925141</c:v>
                </c:pt>
                <c:pt idx="4">
                  <c:v>0.26625364894735826</c:v>
                </c:pt>
                <c:pt idx="5">
                  <c:v>0.019778098686692152</c:v>
                </c:pt>
                <c:pt idx="6">
                  <c:v>0.0646711936777883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87203571135168</c:v>
                </c:pt>
                <c:pt idx="4">
                  <c:v>0.2282662749605472</c:v>
                </c:pt>
                <c:pt idx="5">
                  <c:v>0.012721354105633433</c:v>
                </c:pt>
                <c:pt idx="6">
                  <c:v>0.0545864538038596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1.0</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6224215333265946</c:v>
                </c:pt>
                <c:pt idx="2">
                  <c:v>0.0498232715115799</c:v>
                </c:pt>
                <c:pt idx="3">
                  <c:v>0.022265980150304582</c:v>
                </c:pt>
                <c:pt idx="4">
                  <c:v>0.7918940252152868</c:v>
                </c:pt>
                <c:pt idx="5">
                  <c:v>0.0737745697901691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7441490677310971</c:v>
                </c:pt>
                <c:pt idx="1">
                  <c:v>0.06006645909130818</c:v>
                </c:pt>
                <c:pt idx="3">
                  <c:v>0.15104715629610754</c:v>
                </c:pt>
                <c:pt idx="4">
                  <c:v>0.03304225136462239</c:v>
                </c:pt>
                <c:pt idx="5">
                  <c:v>0.009774181494242782</c:v>
                </c:pt>
                <c:pt idx="6">
                  <c:v>0.00192088402262200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913430261317961</c:v>
                </c:pt>
                <c:pt idx="4">
                  <c:v>0.021375640018073617</c:v>
                </c:pt>
                <c:pt idx="5">
                  <c:v>0.00977418149424278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3647083687077304</c:v>
                </c:pt>
                <c:pt idx="2">
                  <c:v>0.22294442613728951</c:v>
                </c:pt>
                <c:pt idx="3">
                  <c:v>0.7004405097689816</c:v>
                </c:pt>
                <c:pt idx="4">
                  <c:v>0.03913055316916241</c:v>
                </c:pt>
                <c:pt idx="5">
                  <c:v>0.0138205672329352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6596995115484796</c:v>
                </c:pt>
                <c:pt idx="1">
                  <c:v>0.10257587208875503</c:v>
                </c:pt>
                <c:pt idx="2">
                  <c:v>0.1529487140931163</c:v>
                </c:pt>
                <c:pt idx="3">
                  <c:v>0.2679724724061426</c:v>
                </c:pt>
                <c:pt idx="6">
                  <c:v>0.01053299025713811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717836751221237</c:v>
                </c:pt>
                <c:pt idx="1">
                  <c:v>0.2740138666152588</c:v>
                </c:pt>
                <c:pt idx="2">
                  <c:v>0.05866806154514953</c:v>
                </c:pt>
                <c:pt idx="3">
                  <c:v>0.20227419113305734</c:v>
                </c:pt>
                <c:pt idx="4">
                  <c:v>0.03888314191618723</c:v>
                </c:pt>
                <c:pt idx="5">
                  <c:v>0.0222420247911988</c:v>
                </c:pt>
                <c:pt idx="6">
                  <c:v>0.0321350388770246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0964542545479147</c:v>
                </c:pt>
                <c:pt idx="4">
                  <c:v>0.0029677407210408698</c:v>
                </c:pt>
                <c:pt idx="5">
                  <c:v>0.001241221792991099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8875779925593945</c:v>
                </c:pt>
                <c:pt idx="1">
                  <c:v>0.5752159864784312</c:v>
                </c:pt>
                <c:pt idx="2">
                  <c:v>0.011465866538799985</c:v>
                </c:pt>
                <c:pt idx="3">
                  <c:v>0.02411937051886058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886554184883766</c:v>
                </c:pt>
                <c:pt idx="1">
                  <c:v>0.3025085585497987</c:v>
                </c:pt>
                <c:pt idx="2">
                  <c:v>0.18000402739537627</c:v>
                </c:pt>
                <c:pt idx="3">
                  <c:v>0.128830178028959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22911896255625</c:v>
                </c:pt>
                <c:pt idx="1">
                  <c:v>0.07626907480042845</c:v>
                </c:pt>
                <c:pt idx="2">
                  <c:v>0.007349549300869373</c:v>
                </c:pt>
                <c:pt idx="3">
                  <c:v>0.4724437321218864</c:v>
                </c:pt>
                <c:pt idx="4">
                  <c:v>0.0665313881103903</c:v>
                </c:pt>
                <c:pt idx="5">
                  <c:v>0.015152051012852654</c:v>
                </c:pt>
                <c:pt idx="6">
                  <c:v>0.1393423083979478</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979419372832664</c:v>
                </c:pt>
                <c:pt idx="4">
                  <c:v>0.0018036297047012094</c:v>
                </c:pt>
                <c:pt idx="6">
                  <c:v>0.027700653578632876</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566034747625948</c:v>
                </c:pt>
                <c:pt idx="1">
                  <c:v>0.06538075392389973</c:v>
                </c:pt>
                <c:pt idx="2">
                  <c:v>0.02043997693680165</c:v>
                </c:pt>
                <c:pt idx="3">
                  <c:v>0.6383288386884003</c:v>
                </c:pt>
                <c:pt idx="4">
                  <c:v>0.048038426203087785</c:v>
                </c:pt>
                <c:pt idx="5">
                  <c:v>0.019514535367360697</c:v>
                </c:pt>
                <c:pt idx="6">
                  <c:v>0.1126371214041903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7334814739516747</c:v>
                </c:pt>
                <c:pt idx="2">
                  <c:v>0.0027175772227077447</c:v>
                </c:pt>
                <c:pt idx="3">
                  <c:v>0.4964525614428482</c:v>
                </c:pt>
                <c:pt idx="4">
                  <c:v>0.0019816219073796786</c:v>
                </c:pt>
                <c:pt idx="6">
                  <c:v>0.1056147603270008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26299025154860396</c:v>
                </c:pt>
                <c:pt idx="5">
                  <c:v>0.973700974845139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26299025154860396</c:v>
                </c:pt>
                <c:pt idx="5">
                  <c:v>0.973700974845139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8482979377515762</c:v>
                </c:pt>
                <c:pt idx="2">
                  <c:v>0.15171227594969547</c:v>
                </c:pt>
                <c:pt idx="3">
                  <c:v>0.05830613935369741</c:v>
                </c:pt>
                <c:pt idx="4">
                  <c:v>0.557754293073987</c:v>
                </c:pt>
                <c:pt idx="5">
                  <c:v>0.04676690393094721</c:v>
                </c:pt>
                <c:pt idx="6">
                  <c:v>0.000630593916515248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9093612590959939</c:v>
                </c:pt>
                <c:pt idx="1">
                  <c:v>0.08147562772049133</c:v>
                </c:pt>
                <c:pt idx="4">
                  <c:v>0.00916311318351479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2</c:v>
                </c:pt>
                <c:pt idx="2">
                  <c:v>0.038661870444256057</c:v>
                </c:pt>
                <c:pt idx="3">
                  <c:v>0.26687425042330093</c:v>
                </c:pt>
                <c:pt idx="4">
                  <c:v>0.1620594598151877</c:v>
                </c:pt>
                <c:pt idx="5">
                  <c:v>0.020166137495994756</c:v>
                </c:pt>
                <c:pt idx="6">
                  <c:v>0.0973347699080095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672271772221716</c:v>
                </c:pt>
                <c:pt idx="2">
                  <c:v>0.2657467969552628</c:v>
                </c:pt>
                <c:pt idx="3">
                  <c:v>0.654194680252781</c:v>
                </c:pt>
                <c:pt idx="4">
                  <c:v>0.049860403177317186</c:v>
                </c:pt>
                <c:pt idx="5">
                  <c:v>0.001525847842417175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734580255341675</c:v>
                </c:pt>
                <c:pt idx="4">
                  <c:v>0.03233119712919869</c:v>
                </c:pt>
                <c:pt idx="5">
                  <c:v>0.003239895095203426</c:v>
                </c:pt>
                <c:pt idx="6">
                  <c:v>0.01164222545296135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15237979434738663</c:v>
                </c:pt>
                <c:pt idx="4">
                  <c:v>0.08727761880142774</c:v>
                </c:pt>
                <c:pt idx="5">
                  <c:v>0.19270874120502546</c:v>
                </c:pt>
                <c:pt idx="6">
                  <c:v>0.567633845646160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007790910978807</c:v>
                </c:pt>
                <c:pt idx="4">
                  <c:v>0.009911003199150692</c:v>
                </c:pt>
                <c:pt idx="5">
                  <c:v>0.0634589818092052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709771377422016</c:v>
                </c:pt>
                <c:pt idx="4">
                  <c:v>0.529022862257798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4033548930492743</c:v>
                </c:pt>
                <c:pt idx="3">
                  <c:v>0.1675586836088393</c:v>
                </c:pt>
                <c:pt idx="4">
                  <c:v>0.08303099418800744</c:v>
                </c:pt>
                <c:pt idx="5">
                  <c:v>0.09460913930707035</c:v>
                </c:pt>
                <c:pt idx="6">
                  <c:v>0.6507676339655901</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324329310219529</c:v>
                </c:pt>
                <c:pt idx="5">
                  <c:v>0.028177449319760215</c:v>
                </c:pt>
                <c:pt idx="6">
                  <c:v>0.03739557886067057</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30588851371442544</c:v>
                </c:pt>
                <c:pt idx="4">
                  <c:v>0.16043994528766925</c:v>
                </c:pt>
                <c:pt idx="5">
                  <c:v>0.5131081625775586</c:v>
                </c:pt>
                <c:pt idx="6">
                  <c:v>0.02056337842034664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2497059542610201</c:v>
                </c:pt>
                <c:pt idx="4">
                  <c:v>0.16043994528766925</c:v>
                </c:pt>
                <c:pt idx="5">
                  <c:v>0.42779359971454434</c:v>
                </c:pt>
                <c:pt idx="6">
                  <c:v>0.01720002378796989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2571553004295403</c:v>
                </c:pt>
                <c:pt idx="1">
                  <c:v>0.2808081548449442</c:v>
                </c:pt>
                <c:pt idx="2">
                  <c:v>0.020025433559831017</c:v>
                </c:pt>
                <c:pt idx="3">
                  <c:v>0.22623373302232158</c:v>
                </c:pt>
                <c:pt idx="4">
                  <c:v>0.0027710716762535926</c:v>
                </c:pt>
                <c:pt idx="5">
                  <c:v>0.04101025238768189</c:v>
                </c:pt>
                <c:pt idx="6">
                  <c:v>0.2034358244660137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7184072841983793</c:v>
                </c:pt>
                <c:pt idx="1">
                  <c:v>0.07399162517056909</c:v>
                </c:pt>
                <c:pt idx="2">
                  <c:v>0.007846917482467831</c:v>
                </c:pt>
                <c:pt idx="3">
                  <c:v>0.25724379741581105</c:v>
                </c:pt>
                <c:pt idx="4">
                  <c:v>0.36281008134405784</c:v>
                </c:pt>
                <c:pt idx="5">
                  <c:v>0.043374889901846306</c:v>
                </c:pt>
                <c:pt idx="6">
                  <c:v>0.1828919602654098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911765476182229</c:v>
                </c:pt>
                <c:pt idx="4">
                  <c:v>0.07836511302816285</c:v>
                </c:pt>
                <c:pt idx="5">
                  <c:v>0.006297060685598491</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7311415226292007</c:v>
                </c:pt>
                <c:pt idx="1">
                  <c:v>0.3362105296020981</c:v>
                </c:pt>
                <c:pt idx="2">
                  <c:v>0.2599442882782264</c:v>
                </c:pt>
                <c:pt idx="3">
                  <c:v>0.203723833133904</c:v>
                </c:pt>
                <c:pt idx="4">
                  <c:v>0.026134271923351476</c:v>
                </c:pt>
                <c:pt idx="5">
                  <c:v>0.000859534760998031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1191107351250943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0442710963556906</c:v>
                </c:pt>
                <c:pt idx="1">
                  <c:v>0.1709434712643166</c:v>
                </c:pt>
                <c:pt idx="2">
                  <c:v>0.014353314807084067</c:v>
                </c:pt>
                <c:pt idx="3">
                  <c:v>0.34846564657796025</c:v>
                </c:pt>
                <c:pt idx="4">
                  <c:v>0.3372930683007926</c:v>
                </c:pt>
                <c:pt idx="5">
                  <c:v>0.0245156638303330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6347937360632474</c:v>
                </c:pt>
                <c:pt idx="1">
                  <c:v>0.5348183013491903</c:v>
                </c:pt>
                <c:pt idx="2">
                  <c:v>0.001702325044484987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3905432487862183</c:v>
                </c:pt>
                <c:pt idx="1">
                  <c:v>0.012128541643948871</c:v>
                </c:pt>
                <c:pt idx="2">
                  <c:v>0.0023479955188701737</c:v>
                </c:pt>
                <c:pt idx="3">
                  <c:v>0.4243133457259381</c:v>
                </c:pt>
                <c:pt idx="4">
                  <c:v>0.3469752856084496</c:v>
                </c:pt>
                <c:pt idx="5">
                  <c:v>0.015892492452106218</c:v>
                </c:pt>
                <c:pt idx="6">
                  <c:v>0.1844369065628247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7475762937316476</c:v>
                </c:pt>
                <c:pt idx="4">
                  <c:v>0.033152109946541546</c:v>
                </c:pt>
                <c:pt idx="5">
                  <c:v>0.005653939328885332</c:v>
                </c:pt>
                <c:pt idx="6">
                  <c:v>0.016469254042112087</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437923659685317</c:v>
                </c:pt>
                <c:pt idx="1">
                  <c:v>0.007596083239261455</c:v>
                </c:pt>
                <c:pt idx="2">
                  <c:v>0.0017574592387550264</c:v>
                </c:pt>
                <c:pt idx="3">
                  <c:v>0.41139745326147154</c:v>
                </c:pt>
                <c:pt idx="4">
                  <c:v>0.48114396609056365</c:v>
                </c:pt>
                <c:pt idx="5">
                  <c:v>0.03425374132558745</c:v>
                </c:pt>
                <c:pt idx="6">
                  <c:v>0.03947206024750779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3801859032318332</c:v>
                </c:pt>
                <c:pt idx="4">
                  <c:v>0.45002304941637133</c:v>
                </c:pt>
                <c:pt idx="5">
                  <c:v>0.03366873115548297</c:v>
                </c:pt>
                <c:pt idx="6">
                  <c:v>0.0279302726166718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1.0</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804803887884535</c:v>
                </c:pt>
                <c:pt idx="4">
                  <c:v>0.8598226265881037</c:v>
                </c:pt>
                <c:pt idx="5">
                  <c:v>0.11212933453305092</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696621622410942</c:v>
                </c:pt>
                <c:pt idx="1">
                  <c:v>0.0375120664686708</c:v>
                </c:pt>
                <c:pt idx="2">
                  <c:v>0.004941362511180589</c:v>
                </c:pt>
                <c:pt idx="3">
                  <c:v>0.5509666414466601</c:v>
                </c:pt>
                <c:pt idx="4">
                  <c:v>0.09360999927182585</c:v>
                </c:pt>
                <c:pt idx="5">
                  <c:v>0.03612249991919993</c:v>
                </c:pt>
                <c:pt idx="6">
                  <c:v>0.0071852681413685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1803176280058114</c:v>
                </c:pt>
                <c:pt idx="4">
                  <c:v>0.0753415896080593</c:v>
                </c:pt>
                <c:pt idx="5">
                  <c:v>0.03612249991919993</c:v>
                </c:pt>
                <c:pt idx="6">
                  <c:v>0.001450507327106341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9785988096060494</c:v>
                </c:pt>
                <c:pt idx="3">
                  <c:v>0.929801259128993</c:v>
                </c:pt>
                <c:pt idx="5">
                  <c:v>0.058630009773384104</c:v>
                </c:pt>
                <c:pt idx="6">
                  <c:v>0.0017827430015623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705139088674349</c:v>
                </c:pt>
                <c:pt idx="1">
                  <c:v>0.05480119930033748</c:v>
                </c:pt>
                <c:pt idx="2">
                  <c:v>0.053102395161357265</c:v>
                </c:pt>
                <c:pt idx="3">
                  <c:v>0.3460055757425347</c:v>
                </c:pt>
                <c:pt idx="5">
                  <c:v>0.01196888028766207</c:v>
                </c:pt>
                <c:pt idx="6">
                  <c:v>0.063602132945861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554944977014372</c:v>
                </c:pt>
                <c:pt idx="1">
                  <c:v>0.21349314176736545</c:v>
                </c:pt>
                <c:pt idx="2">
                  <c:v>0.045726014619145515</c:v>
                </c:pt>
                <c:pt idx="3">
                  <c:v>0.188514932913315</c:v>
                </c:pt>
                <c:pt idx="4">
                  <c:v>0.1911745765054369</c:v>
                </c:pt>
                <c:pt idx="5">
                  <c:v>0.02963935124171819</c:v>
                </c:pt>
                <c:pt idx="6">
                  <c:v>0.1259025331828752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8776680471487734</c:v>
                </c:pt>
                <c:pt idx="6">
                  <c:v>0.122331952851226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45839130262452</c:v>
                </c:pt>
                <c:pt idx="1">
                  <c:v>0.4914595851343907</c:v>
                </c:pt>
                <c:pt idx="2">
                  <c:v>0.012849030110361134</c:v>
                </c:pt>
                <c:pt idx="3">
                  <c:v>0.046895605146208316</c:v>
                </c:pt>
                <c:pt idx="4">
                  <c:v>0.0019392234946241896</c:v>
                </c:pt>
                <c:pt idx="5">
                  <c:v>0.00101742585196364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4</c:v>
                </c:pt>
                <c:pt idx="3">
                  <c:v>0.21189801082888213</c:v>
                </c:pt>
                <c:pt idx="4">
                  <c:v>0.0348912720561147</c:v>
                </c:pt>
                <c:pt idx="5">
                  <c:v>0.014775448871255988</c:v>
                </c:pt>
                <c:pt idx="6">
                  <c:v>0.0439110282318079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995533587667234</c:v>
                </c:pt>
                <c:pt idx="1">
                  <c:v>0.4738683058636317</c:v>
                </c:pt>
                <c:pt idx="2">
                  <c:v>0.14579589568035858</c:v>
                </c:pt>
                <c:pt idx="3">
                  <c:v>0.09935466851916305</c:v>
                </c:pt>
                <c:pt idx="4">
                  <c:v>0.2110252931179186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965445382408175</c:v>
                </c:pt>
                <c:pt idx="1">
                  <c:v>0.034554617591825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8635029126853426</c:v>
                </c:pt>
                <c:pt idx="1">
                  <c:v>0.03416672340283251</c:v>
                </c:pt>
                <c:pt idx="2">
                  <c:v>0.00272966456690357</c:v>
                </c:pt>
                <c:pt idx="3">
                  <c:v>0.4279190418121717</c:v>
                </c:pt>
                <c:pt idx="4">
                  <c:v>0.24118560212982318</c:v>
                </c:pt>
                <c:pt idx="5">
                  <c:v>0.02924373517641475</c:v>
                </c:pt>
                <c:pt idx="6">
                  <c:v>0.1784049416433200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7657733607831384</c:v>
                </c:pt>
                <c:pt idx="5">
                  <c:v>0.008137700976257793</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4127282932009446</c:v>
                </c:pt>
                <c:pt idx="1">
                  <c:v>0.03408125795951394</c:v>
                </c:pt>
                <c:pt idx="2">
                  <c:v>0.004787404713353019</c:v>
                </c:pt>
                <c:pt idx="3">
                  <c:v>0.46936510767245726</c:v>
                </c:pt>
                <c:pt idx="4">
                  <c:v>0.3770497196062956</c:v>
                </c:pt>
                <c:pt idx="5">
                  <c:v>0.008676211063393363</c:v>
                </c:pt>
                <c:pt idx="6">
                  <c:v>0.0647674696648923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2678797279063525</c:v>
                </c:pt>
                <c:pt idx="4">
                  <c:v>0.001986195840889458</c:v>
                </c:pt>
                <c:pt idx="5">
                  <c:v>0.0006944339020801837</c:v>
                </c:pt>
                <c:pt idx="6">
                  <c:v>0.01236606403075573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592234402682928</c:v>
                </c:pt>
                <c:pt idx="2">
                  <c:v>0.05001403601733544</c:v>
                </c:pt>
                <c:pt idx="4">
                  <c:v>0.890762523714371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7312888297619565</c:v>
                </c:pt>
                <c:pt idx="1">
                  <c:v>0.05921946908798007</c:v>
                </c:pt>
                <c:pt idx="3">
                  <c:v>0.14501371612813357</c:v>
                </c:pt>
                <c:pt idx="4">
                  <c:v>0.032597735276449984</c:v>
                </c:pt>
                <c:pt idx="5">
                  <c:v>0.019552445565358713</c:v>
                </c:pt>
                <c:pt idx="6">
                  <c:v>0.01232780418012123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3000055859243626</c:v>
                </c:pt>
                <c:pt idx="1">
                  <c:v>0.0009537551864291189</c:v>
                </c:pt>
                <c:pt idx="2">
                  <c:v>0.22403350597124166</c:v>
                </c:pt>
                <c:pt idx="3">
                  <c:v>0.7003680332255438</c:v>
                </c:pt>
                <c:pt idx="4">
                  <c:v>0.03269431528167085</c:v>
                </c:pt>
                <c:pt idx="5">
                  <c:v>0.01893393904187477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254255808956343</c:v>
                </c:pt>
                <c:pt idx="1">
                  <c:v>0.12133702885660513</c:v>
                </c:pt>
                <c:pt idx="2">
                  <c:v>0.06667497385961521</c:v>
                </c:pt>
                <c:pt idx="3">
                  <c:v>0.31407829541600935</c:v>
                </c:pt>
                <c:pt idx="4">
                  <c:v>0.0009276067136325474</c:v>
                </c:pt>
                <c:pt idx="5">
                  <c:v>0.010646160467327366</c:v>
                </c:pt>
                <c:pt idx="6">
                  <c:v>0.0609103537911761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205005147984321</c:v>
                </c:pt>
                <c:pt idx="1">
                  <c:v>0.20415707198366714</c:v>
                </c:pt>
                <c:pt idx="2">
                  <c:v>0.03502014810194364</c:v>
                </c:pt>
                <c:pt idx="3">
                  <c:v>0.21813190338652202</c:v>
                </c:pt>
                <c:pt idx="4">
                  <c:v>0.19447307684090834</c:v>
                </c:pt>
                <c:pt idx="5">
                  <c:v>0.02690649974158581</c:v>
                </c:pt>
                <c:pt idx="6">
                  <c:v>0.1008107851469408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427174519284424</c:v>
                </c:pt>
                <c:pt idx="1">
                  <c:v>0.5874236572186359</c:v>
                </c:pt>
                <c:pt idx="2">
                  <c:v>0.015154433036041857</c:v>
                </c:pt>
                <c:pt idx="3">
                  <c:v>0.05246622508191151</c:v>
                </c:pt>
                <c:pt idx="4">
                  <c:v>0.001998176428375430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4383755279408464</c:v>
                </c:pt>
                <c:pt idx="1">
                  <c:v>0.31880605087927877</c:v>
                </c:pt>
                <c:pt idx="2">
                  <c:v>0.12692761118319387</c:v>
                </c:pt>
                <c:pt idx="3">
                  <c:v>0.2509872878297742</c:v>
                </c:pt>
                <c:pt idx="4">
                  <c:v>0.054185838455291235</c:v>
                </c:pt>
                <c:pt idx="5">
                  <c:v>0.00525511747416305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9579213400797534</c:v>
                </c:pt>
                <c:pt idx="1">
                  <c:v>0.04207865992024656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044861310621091</c:v>
                </c:pt>
                <c:pt idx="1">
                  <c:v>0.032311526189170936</c:v>
                </c:pt>
                <c:pt idx="2">
                  <c:v>0.006869211005558524</c:v>
                </c:pt>
                <c:pt idx="3">
                  <c:v>0.46365745761636096</c:v>
                </c:pt>
                <c:pt idx="4">
                  <c:v>0.22138887704198426</c:v>
                </c:pt>
                <c:pt idx="5">
                  <c:v>0.01571487316116536</c:v>
                </c:pt>
                <c:pt idx="6">
                  <c:v>0.1696094418795490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1445887049676318</c:v>
                </c:pt>
                <c:pt idx="5">
                  <c:v>0.002228482216707889</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47788473348301955</c:v>
                </c:pt>
                <c:pt idx="1">
                  <c:v>0.03087338715127845</c:v>
                </c:pt>
                <c:pt idx="2">
                  <c:v>0.004528427896066678</c:v>
                </c:pt>
                <c:pt idx="3">
                  <c:v>0.5661067702925141</c:v>
                </c:pt>
                <c:pt idx="4">
                  <c:v>0.26625364894735826</c:v>
                </c:pt>
                <c:pt idx="5">
                  <c:v>0.019778098686692152</c:v>
                </c:pt>
                <c:pt idx="6">
                  <c:v>0.0646711936777883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6224215333265946</c:v>
                </c:pt>
                <c:pt idx="2">
                  <c:v>0.0498232715115799</c:v>
                </c:pt>
                <c:pt idx="3">
                  <c:v>0.022265980150304582</c:v>
                </c:pt>
                <c:pt idx="4">
                  <c:v>0.7918940252152868</c:v>
                </c:pt>
                <c:pt idx="5">
                  <c:v>0.0737745697901691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7441490677310971</c:v>
                </c:pt>
                <c:pt idx="1">
                  <c:v>0.06006645909130818</c:v>
                </c:pt>
                <c:pt idx="3">
                  <c:v>0.15104715629610754</c:v>
                </c:pt>
                <c:pt idx="4">
                  <c:v>0.03304225136462239</c:v>
                </c:pt>
                <c:pt idx="5">
                  <c:v>0.009774181494242782</c:v>
                </c:pt>
                <c:pt idx="6">
                  <c:v>0.00192088402262200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3647083687077304</c:v>
                </c:pt>
                <c:pt idx="2">
                  <c:v>0.22294442613728951</c:v>
                </c:pt>
                <c:pt idx="3">
                  <c:v>0.7004405097689816</c:v>
                </c:pt>
                <c:pt idx="4">
                  <c:v>0.03913055316916241</c:v>
                </c:pt>
                <c:pt idx="5">
                  <c:v>0.0138205672329352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6596995115484796</c:v>
                </c:pt>
                <c:pt idx="1">
                  <c:v>0.10257587208875503</c:v>
                </c:pt>
                <c:pt idx="2">
                  <c:v>0.1529487140931163</c:v>
                </c:pt>
                <c:pt idx="3">
                  <c:v>0.2679724724061426</c:v>
                </c:pt>
                <c:pt idx="6">
                  <c:v>0.01053299025713811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717836751221237</c:v>
                </c:pt>
                <c:pt idx="1">
                  <c:v>0.2740138666152588</c:v>
                </c:pt>
                <c:pt idx="2">
                  <c:v>0.05866806154514953</c:v>
                </c:pt>
                <c:pt idx="3">
                  <c:v>0.20227419113305734</c:v>
                </c:pt>
                <c:pt idx="4">
                  <c:v>0.03888314191618723</c:v>
                </c:pt>
                <c:pt idx="5">
                  <c:v>0.0222420247911988</c:v>
                </c:pt>
                <c:pt idx="6">
                  <c:v>0.0321350388770246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8875779925593945</c:v>
                </c:pt>
                <c:pt idx="1">
                  <c:v>0.5752159864784312</c:v>
                </c:pt>
                <c:pt idx="2">
                  <c:v>0.011465866538799985</c:v>
                </c:pt>
                <c:pt idx="3">
                  <c:v>0.02411937051886058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886554184883766</c:v>
                </c:pt>
                <c:pt idx="1">
                  <c:v>0.3025085585497987</c:v>
                </c:pt>
                <c:pt idx="2">
                  <c:v>0.18000402739537627</c:v>
                </c:pt>
                <c:pt idx="3">
                  <c:v>0.128830178028959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22911896255625</c:v>
                </c:pt>
                <c:pt idx="1">
                  <c:v>0.07626907480042845</c:v>
                </c:pt>
                <c:pt idx="2">
                  <c:v>0.007349549300869373</c:v>
                </c:pt>
                <c:pt idx="3">
                  <c:v>0.4724437321218864</c:v>
                </c:pt>
                <c:pt idx="4">
                  <c:v>0.0665313881103903</c:v>
                </c:pt>
                <c:pt idx="5">
                  <c:v>0.015152051012852654</c:v>
                </c:pt>
                <c:pt idx="6">
                  <c:v>0.1393423083979478</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9167240618540285</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566034747625948</c:v>
                </c:pt>
                <c:pt idx="1">
                  <c:v>0.06538075392389973</c:v>
                </c:pt>
                <c:pt idx="2">
                  <c:v>0.02043997693680165</c:v>
                </c:pt>
                <c:pt idx="3">
                  <c:v>0.6383288386884003</c:v>
                </c:pt>
                <c:pt idx="4">
                  <c:v>0.048038426203087785</c:v>
                </c:pt>
                <c:pt idx="5">
                  <c:v>0.019514535367360697</c:v>
                </c:pt>
                <c:pt idx="6">
                  <c:v>0.1126371214041903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26299025154860396</c:v>
                </c:pt>
                <c:pt idx="5">
                  <c:v>0.973700974845139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8482979377515762</c:v>
                </c:pt>
                <c:pt idx="2">
                  <c:v>0.15171227594969547</c:v>
                </c:pt>
                <c:pt idx="3">
                  <c:v>0.05830613935369741</c:v>
                </c:pt>
                <c:pt idx="4">
                  <c:v>0.557754293073987</c:v>
                </c:pt>
                <c:pt idx="5">
                  <c:v>0.04676690393094721</c:v>
                </c:pt>
                <c:pt idx="6">
                  <c:v>0.000630593916515248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9093612590959939</c:v>
                </c:pt>
                <c:pt idx="1">
                  <c:v>0.08147562772049133</c:v>
                </c:pt>
                <c:pt idx="4">
                  <c:v>0.00916311318351479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407711693623543</c:v>
                </c:pt>
                <c:pt idx="2">
                  <c:v>0.0008493697688871372</c:v>
                </c:pt>
                <c:pt idx="3">
                  <c:v>0.17522840497178355</c:v>
                </c:pt>
                <c:pt idx="4">
                  <c:v>0.11866978005458789</c:v>
                </c:pt>
                <c:pt idx="5">
                  <c:v>0.16003965190514902</c:v>
                </c:pt>
                <c:pt idx="6">
                  <c:v>0.533805081605968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672271772221716</c:v>
                </c:pt>
                <c:pt idx="2">
                  <c:v>0.2657467969552628</c:v>
                </c:pt>
                <c:pt idx="3">
                  <c:v>0.654194680252781</c:v>
                </c:pt>
                <c:pt idx="4">
                  <c:v>0.049860403177317186</c:v>
                </c:pt>
                <c:pt idx="5">
                  <c:v>0.001525847842417175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722007466574753</c:v>
                </c:pt>
                <c:pt idx="4">
                  <c:v>0.010451376111653789</c:v>
                </c:pt>
                <c:pt idx="5">
                  <c:v>0.056827098905864515</c:v>
                </c:pt>
                <c:pt idx="6">
                  <c:v>0.00828317986525132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15237979434738663</c:v>
                </c:pt>
                <c:pt idx="4">
                  <c:v>0.08727761880142774</c:v>
                </c:pt>
                <c:pt idx="5">
                  <c:v>0.19270874120502546</c:v>
                </c:pt>
                <c:pt idx="6">
                  <c:v>0.567633845646160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709771377422016</c:v>
                </c:pt>
                <c:pt idx="4">
                  <c:v>0.529022862257798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4033548930492743</c:v>
                </c:pt>
                <c:pt idx="3">
                  <c:v>0.1675586836088393</c:v>
                </c:pt>
                <c:pt idx="4">
                  <c:v>0.08303099418800744</c:v>
                </c:pt>
                <c:pt idx="5">
                  <c:v>0.09460913930707035</c:v>
                </c:pt>
                <c:pt idx="6">
                  <c:v>0.6507676339655901</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9590998958350803</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30588851371442544</c:v>
                </c:pt>
                <c:pt idx="4">
                  <c:v>0.16043994528766925</c:v>
                </c:pt>
                <c:pt idx="5">
                  <c:v>0.5131081625775586</c:v>
                </c:pt>
                <c:pt idx="6">
                  <c:v>0.02056337842034664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2571553004295403</c:v>
                </c:pt>
                <c:pt idx="1">
                  <c:v>0.2808081548449442</c:v>
                </c:pt>
                <c:pt idx="2">
                  <c:v>0.020025433559831017</c:v>
                </c:pt>
                <c:pt idx="3">
                  <c:v>0.22623373302232158</c:v>
                </c:pt>
                <c:pt idx="4">
                  <c:v>0.0027710716762535926</c:v>
                </c:pt>
                <c:pt idx="5">
                  <c:v>0.04101025238768189</c:v>
                </c:pt>
                <c:pt idx="6">
                  <c:v>0.2034358244660137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7184072841983793</c:v>
                </c:pt>
                <c:pt idx="1">
                  <c:v>0.07399162517056909</c:v>
                </c:pt>
                <c:pt idx="2">
                  <c:v>0.007846917482467831</c:v>
                </c:pt>
                <c:pt idx="3">
                  <c:v>0.25724379741581105</c:v>
                </c:pt>
                <c:pt idx="4">
                  <c:v>0.36281008134405784</c:v>
                </c:pt>
                <c:pt idx="5">
                  <c:v>0.043374889901846306</c:v>
                </c:pt>
                <c:pt idx="6">
                  <c:v>0.1828919602654098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7311415226292007</c:v>
                </c:pt>
                <c:pt idx="1">
                  <c:v>0.3362105296020981</c:v>
                </c:pt>
                <c:pt idx="2">
                  <c:v>0.2599442882782264</c:v>
                </c:pt>
                <c:pt idx="3">
                  <c:v>0.203723833133904</c:v>
                </c:pt>
                <c:pt idx="4">
                  <c:v>0.026134271923351476</c:v>
                </c:pt>
                <c:pt idx="5">
                  <c:v>0.000859534760998031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0442710963556906</c:v>
                </c:pt>
                <c:pt idx="1">
                  <c:v>0.1709434712643166</c:v>
                </c:pt>
                <c:pt idx="2">
                  <c:v>0.014353314807084067</c:v>
                </c:pt>
                <c:pt idx="3">
                  <c:v>0.34846564657796025</c:v>
                </c:pt>
                <c:pt idx="4">
                  <c:v>0.3372930683007926</c:v>
                </c:pt>
                <c:pt idx="5">
                  <c:v>0.0245156638303330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6347937360632474</c:v>
                </c:pt>
                <c:pt idx="1">
                  <c:v>0.5348183013491903</c:v>
                </c:pt>
                <c:pt idx="2">
                  <c:v>0.001702325044484987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3905432487862183</c:v>
                </c:pt>
                <c:pt idx="1">
                  <c:v>0.012128541643948871</c:v>
                </c:pt>
                <c:pt idx="2">
                  <c:v>0.0023479955188701737</c:v>
                </c:pt>
                <c:pt idx="3">
                  <c:v>0.4243133457259381</c:v>
                </c:pt>
                <c:pt idx="4">
                  <c:v>0.3469752856084496</c:v>
                </c:pt>
                <c:pt idx="5">
                  <c:v>0.015892492452106218</c:v>
                </c:pt>
                <c:pt idx="6">
                  <c:v>0.1844369065628247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22030001535288776</c:v>
                </c:pt>
                <c:pt idx="5">
                  <c:v>0.0030879748499041183</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437923659685317</c:v>
                </c:pt>
                <c:pt idx="1">
                  <c:v>0.007596083239261455</c:v>
                </c:pt>
                <c:pt idx="2">
                  <c:v>0.0017574592387550264</c:v>
                </c:pt>
                <c:pt idx="3">
                  <c:v>0.41139745326147154</c:v>
                </c:pt>
                <c:pt idx="4">
                  <c:v>0.48114396609056365</c:v>
                </c:pt>
                <c:pt idx="5">
                  <c:v>0.03425374132558745</c:v>
                </c:pt>
                <c:pt idx="6">
                  <c:v>0.03947206024750779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804803887884535</c:v>
                </c:pt>
                <c:pt idx="4">
                  <c:v>0.8598226265881037</c:v>
                </c:pt>
                <c:pt idx="5">
                  <c:v>0.11212933453305092</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696621622410942</c:v>
                </c:pt>
                <c:pt idx="1">
                  <c:v>0.0375120664686708</c:v>
                </c:pt>
                <c:pt idx="2">
                  <c:v>0.004941362511180589</c:v>
                </c:pt>
                <c:pt idx="3">
                  <c:v>0.5509666414466601</c:v>
                </c:pt>
                <c:pt idx="4">
                  <c:v>0.09360999927182585</c:v>
                </c:pt>
                <c:pt idx="5">
                  <c:v>0.03612249991919993</c:v>
                </c:pt>
                <c:pt idx="6">
                  <c:v>0.0071852681413685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9785988096060494</c:v>
                </c:pt>
                <c:pt idx="3">
                  <c:v>0.929801259128993</c:v>
                </c:pt>
                <c:pt idx="5">
                  <c:v>0.058630009773384104</c:v>
                </c:pt>
                <c:pt idx="6">
                  <c:v>0.0017827430015623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2</c:v>
                </c:pt>
                <c:pt idx="1">
                  <c:v>0.06983355347252945</c:v>
                </c:pt>
                <c:pt idx="2">
                  <c:v>0.016376470044223303</c:v>
                </c:pt>
                <c:pt idx="3">
                  <c:v>0.31902660341686145</c:v>
                </c:pt>
                <c:pt idx="4">
                  <c:v>0.3389449232189925</c:v>
                </c:pt>
                <c:pt idx="5">
                  <c:v>0.03479636360013413</c:v>
                </c:pt>
                <c:pt idx="6">
                  <c:v>0.161366343032767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260185135961147</c:v>
                </c:pt>
                <c:pt idx="4">
                  <c:v>0.06881615612550147</c:v>
                </c:pt>
                <c:pt idx="5">
                  <c:v>0.008971849334285228</c:v>
                </c:pt>
                <c:pt idx="6">
                  <c:v>0.01074683520909877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36</c:v>
                </c:pt>
                <c:pt idx="4">
                  <c:v>0.18575803512433944</c:v>
                </c:pt>
                <c:pt idx="5">
                  <c:v>0.02352800400703838</c:v>
                </c:pt>
                <c:pt idx="6">
                  <c:v>0.110079271481584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5457411727770247</c:v>
                </c:pt>
                <c:pt idx="5">
                  <c:v>0.001642624318752148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2</c:v>
                </c:pt>
                <c:pt idx="2">
                  <c:v>0.038661870444256057</c:v>
                </c:pt>
                <c:pt idx="3">
                  <c:v>0.26687425042330093</c:v>
                </c:pt>
                <c:pt idx="4">
                  <c:v>0.1620594598151877</c:v>
                </c:pt>
                <c:pt idx="5">
                  <c:v>0.020166137495994756</c:v>
                </c:pt>
                <c:pt idx="6">
                  <c:v>0.0973347699080095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2</c:v>
                </c:pt>
                <c:pt idx="2">
                  <c:v>0.038661870444256057</c:v>
                </c:pt>
                <c:pt idx="3">
                  <c:v>0.26687425042330093</c:v>
                </c:pt>
                <c:pt idx="4">
                  <c:v>0.1620594598151877</c:v>
                </c:pt>
                <c:pt idx="5">
                  <c:v>0.020166137495994756</c:v>
                </c:pt>
                <c:pt idx="6">
                  <c:v>0.0973347699080095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29890489262960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4</c:v>
                </c:pt>
                <c:pt idx="3">
                  <c:v>0.21189801082888213</c:v>
                </c:pt>
                <c:pt idx="4">
                  <c:v>0.0348912720561147</c:v>
                </c:pt>
                <c:pt idx="5">
                  <c:v>0.014775448871255988</c:v>
                </c:pt>
                <c:pt idx="6">
                  <c:v>0.0439110282318079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1/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1/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7.xml"/><Relationship Id="rId7" Type="http://schemas.openxmlformats.org/officeDocument/2006/relationships/chart" Target="../charts/chart298.xml"/><Relationship Id="rId8" Type="http://schemas.openxmlformats.org/officeDocument/2006/relationships/chart" Target="../charts/chart299.xml"/><Relationship Id="rId9" Type="http://schemas.openxmlformats.org/officeDocument/2006/relationships/chart" Target="../charts/chart300.xml"/><Relationship Id="rId10" Type="http://schemas.openxmlformats.org/officeDocument/2006/relationships/chart" Target="../charts/chart301.xml"/><Relationship Id="rId11" Type="http://schemas.openxmlformats.org/officeDocument/2006/relationships/chart" Target="../charts/chart302.xml"/><Relationship Id="rId12" Type="http://schemas.openxmlformats.org/officeDocument/2006/relationships/chart" Target="../charts/chart303.xml"/><Relationship Id="rId13" Type="http://schemas.openxmlformats.org/officeDocument/2006/relationships/chart" Target="../charts/chart304.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5.xml"/><Relationship Id="rId7" Type="http://schemas.openxmlformats.org/officeDocument/2006/relationships/chart" Target="../charts/chart306.xml"/><Relationship Id="rId8" Type="http://schemas.openxmlformats.org/officeDocument/2006/relationships/chart" Target="../charts/chart307.xml"/><Relationship Id="rId9" Type="http://schemas.openxmlformats.org/officeDocument/2006/relationships/chart" Target="../charts/chart308.xml"/><Relationship Id="rId10" Type="http://schemas.openxmlformats.org/officeDocument/2006/relationships/chart" Target="../charts/chart309.xml"/><Relationship Id="rId11" Type="http://schemas.openxmlformats.org/officeDocument/2006/relationships/chart" Target="../charts/chart310.xml"/><Relationship Id="rId12" Type="http://schemas.openxmlformats.org/officeDocument/2006/relationships/chart" Target="../charts/chart311.xml"/><Relationship Id="rId13" Type="http://schemas.openxmlformats.org/officeDocument/2006/relationships/chart" Target="../charts/chart312.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1.xml"/><Relationship Id="rId7" Type="http://schemas.openxmlformats.org/officeDocument/2006/relationships/chart" Target="../charts/chart322.xml"/><Relationship Id="rId8" Type="http://schemas.openxmlformats.org/officeDocument/2006/relationships/chart" Target="../charts/chart323.xml"/><Relationship Id="rId9" Type="http://schemas.openxmlformats.org/officeDocument/2006/relationships/chart" Target="../charts/chart324.xml"/><Relationship Id="rId10" Type="http://schemas.openxmlformats.org/officeDocument/2006/relationships/chart" Target="../charts/chart325.xml"/><Relationship Id="rId11" Type="http://schemas.openxmlformats.org/officeDocument/2006/relationships/chart" Target="../charts/chart326.xml"/><Relationship Id="rId12" Type="http://schemas.openxmlformats.org/officeDocument/2006/relationships/chart" Target="../charts/chart327.xml"/><Relationship Id="rId13" Type="http://schemas.openxmlformats.org/officeDocument/2006/relationships/chart" Target="../charts/chart328.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9.xml"/><Relationship Id="rId7" Type="http://schemas.openxmlformats.org/officeDocument/2006/relationships/chart" Target="../charts/chart330.xml"/><Relationship Id="rId8" Type="http://schemas.openxmlformats.org/officeDocument/2006/relationships/chart" Target="../charts/chart331.xml"/><Relationship Id="rId9" Type="http://schemas.openxmlformats.org/officeDocument/2006/relationships/chart" Target="../charts/chart332.xml"/><Relationship Id="rId10" Type="http://schemas.openxmlformats.org/officeDocument/2006/relationships/chart" Target="../charts/chart333.xml"/><Relationship Id="rId11" Type="http://schemas.openxmlformats.org/officeDocument/2006/relationships/chart" Target="../charts/chart334.xml"/><Relationship Id="rId12" Type="http://schemas.openxmlformats.org/officeDocument/2006/relationships/chart" Target="../charts/chart335.xml"/><Relationship Id="rId13" Type="http://schemas.openxmlformats.org/officeDocument/2006/relationships/chart" Target="../charts/chart336.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5.xml"/><Relationship Id="rId7" Type="http://schemas.openxmlformats.org/officeDocument/2006/relationships/chart" Target="../charts/chart346.xml"/><Relationship Id="rId8" Type="http://schemas.openxmlformats.org/officeDocument/2006/relationships/chart" Target="../charts/chart347.xml"/><Relationship Id="rId9" Type="http://schemas.openxmlformats.org/officeDocument/2006/relationships/chart" Target="../charts/chart348.xml"/><Relationship Id="rId10" Type="http://schemas.openxmlformats.org/officeDocument/2006/relationships/chart" Target="../charts/chart349.xml"/><Relationship Id="rId11" Type="http://schemas.openxmlformats.org/officeDocument/2006/relationships/chart" Target="../charts/chart350.xml"/><Relationship Id="rId12" Type="http://schemas.openxmlformats.org/officeDocument/2006/relationships/chart" Target="../charts/chart351.xml"/><Relationship Id="rId13" Type="http://schemas.openxmlformats.org/officeDocument/2006/relationships/chart" Target="../charts/chart352.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3.xml"/><Relationship Id="rId7" Type="http://schemas.openxmlformats.org/officeDocument/2006/relationships/chart" Target="../charts/chart354.xml"/><Relationship Id="rId8" Type="http://schemas.openxmlformats.org/officeDocument/2006/relationships/chart" Target="../charts/chart355.xml"/><Relationship Id="rId9" Type="http://schemas.openxmlformats.org/officeDocument/2006/relationships/chart" Target="../charts/chart356.xml"/><Relationship Id="rId10" Type="http://schemas.openxmlformats.org/officeDocument/2006/relationships/chart" Target="../charts/chart357.xml"/><Relationship Id="rId11" Type="http://schemas.openxmlformats.org/officeDocument/2006/relationships/chart" Target="../charts/chart358.xml"/><Relationship Id="rId12" Type="http://schemas.openxmlformats.org/officeDocument/2006/relationships/chart" Target="../charts/chart359.xml"/><Relationship Id="rId13" Type="http://schemas.openxmlformats.org/officeDocument/2006/relationships/chart" Target="../charts/chart360.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9.xml"/><Relationship Id="rId7" Type="http://schemas.openxmlformats.org/officeDocument/2006/relationships/chart" Target="../charts/chart370.xml"/><Relationship Id="rId8" Type="http://schemas.openxmlformats.org/officeDocument/2006/relationships/chart" Target="../charts/chart371.xml"/><Relationship Id="rId9" Type="http://schemas.openxmlformats.org/officeDocument/2006/relationships/chart" Target="../charts/chart372.xml"/><Relationship Id="rId10" Type="http://schemas.openxmlformats.org/officeDocument/2006/relationships/chart" Target="../charts/chart373.xml"/><Relationship Id="rId11" Type="http://schemas.openxmlformats.org/officeDocument/2006/relationships/chart" Target="../charts/chart374.xml"/><Relationship Id="rId12" Type="http://schemas.openxmlformats.org/officeDocument/2006/relationships/chart" Target="../charts/chart375.xml"/><Relationship Id="rId13" Type="http://schemas.openxmlformats.org/officeDocument/2006/relationships/chart" Target="../charts/chart376.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7.xml"/><Relationship Id="rId7" Type="http://schemas.openxmlformats.org/officeDocument/2006/relationships/chart" Target="../charts/chart378.xml"/><Relationship Id="rId8" Type="http://schemas.openxmlformats.org/officeDocument/2006/relationships/chart" Target="../charts/chart379.xml"/><Relationship Id="rId9" Type="http://schemas.openxmlformats.org/officeDocument/2006/relationships/chart" Target="../charts/chart380.xml"/><Relationship Id="rId10" Type="http://schemas.openxmlformats.org/officeDocument/2006/relationships/chart" Target="../charts/chart381.xml"/><Relationship Id="rId11" Type="http://schemas.openxmlformats.org/officeDocument/2006/relationships/chart" Target="../charts/chart382.xml"/><Relationship Id="rId12" Type="http://schemas.openxmlformats.org/officeDocument/2006/relationships/chart" Target="../charts/chart383.xml"/><Relationship Id="rId13" Type="http://schemas.openxmlformats.org/officeDocument/2006/relationships/chart" Target="../charts/chart384.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3.xml"/><Relationship Id="rId7" Type="http://schemas.openxmlformats.org/officeDocument/2006/relationships/chart" Target="../charts/chart394.xml"/><Relationship Id="rId8" Type="http://schemas.openxmlformats.org/officeDocument/2006/relationships/chart" Target="../charts/chart395.xml"/><Relationship Id="rId9" Type="http://schemas.openxmlformats.org/officeDocument/2006/relationships/chart" Target="../charts/chart396.xml"/><Relationship Id="rId10" Type="http://schemas.openxmlformats.org/officeDocument/2006/relationships/chart" Target="../charts/chart397.xml"/><Relationship Id="rId11" Type="http://schemas.openxmlformats.org/officeDocument/2006/relationships/chart" Target="../charts/chart398.xml"/><Relationship Id="rId12" Type="http://schemas.openxmlformats.org/officeDocument/2006/relationships/chart" Target="../charts/chart399.xml"/><Relationship Id="rId13" Type="http://schemas.openxmlformats.org/officeDocument/2006/relationships/chart" Target="../charts/chart40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1.xml"/><Relationship Id="rId7" Type="http://schemas.openxmlformats.org/officeDocument/2006/relationships/chart" Target="../charts/chart402.xml"/><Relationship Id="rId8" Type="http://schemas.openxmlformats.org/officeDocument/2006/relationships/chart" Target="../charts/chart403.xml"/><Relationship Id="rId9" Type="http://schemas.openxmlformats.org/officeDocument/2006/relationships/chart" Target="../charts/chart404.xml"/><Relationship Id="rId10" Type="http://schemas.openxmlformats.org/officeDocument/2006/relationships/chart" Target="../charts/chart405.xml"/><Relationship Id="rId11" Type="http://schemas.openxmlformats.org/officeDocument/2006/relationships/chart" Target="../charts/chart406.xml"/><Relationship Id="rId12" Type="http://schemas.openxmlformats.org/officeDocument/2006/relationships/chart" Target="../charts/chart407.xml"/><Relationship Id="rId13" Type="http://schemas.openxmlformats.org/officeDocument/2006/relationships/chart" Target="../charts/chart408.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7.xml"/><Relationship Id="rId7" Type="http://schemas.openxmlformats.org/officeDocument/2006/relationships/chart" Target="../charts/chart418.xml"/><Relationship Id="rId8" Type="http://schemas.openxmlformats.org/officeDocument/2006/relationships/chart" Target="../charts/chart419.xml"/><Relationship Id="rId9" Type="http://schemas.openxmlformats.org/officeDocument/2006/relationships/chart" Target="../charts/chart420.xml"/><Relationship Id="rId10" Type="http://schemas.openxmlformats.org/officeDocument/2006/relationships/chart" Target="../charts/chart421.xml"/><Relationship Id="rId11" Type="http://schemas.openxmlformats.org/officeDocument/2006/relationships/chart" Target="../charts/chart422.xml"/><Relationship Id="rId12" Type="http://schemas.openxmlformats.org/officeDocument/2006/relationships/chart" Target="../charts/chart423.xml"/><Relationship Id="rId13" Type="http://schemas.openxmlformats.org/officeDocument/2006/relationships/chart" Target="../charts/chart424.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5.xml"/><Relationship Id="rId7" Type="http://schemas.openxmlformats.org/officeDocument/2006/relationships/chart" Target="../charts/chart426.xml"/><Relationship Id="rId8" Type="http://schemas.openxmlformats.org/officeDocument/2006/relationships/chart" Target="../charts/chart427.xml"/><Relationship Id="rId9" Type="http://schemas.openxmlformats.org/officeDocument/2006/relationships/chart" Target="../charts/chart428.xml"/><Relationship Id="rId10" Type="http://schemas.openxmlformats.org/officeDocument/2006/relationships/chart" Target="../charts/chart429.xml"/><Relationship Id="rId11" Type="http://schemas.openxmlformats.org/officeDocument/2006/relationships/chart" Target="../charts/chart430.xml"/><Relationship Id="rId12" Type="http://schemas.openxmlformats.org/officeDocument/2006/relationships/chart" Target="../charts/chart431.xml"/><Relationship Id="rId13" Type="http://schemas.openxmlformats.org/officeDocument/2006/relationships/chart" Target="../charts/chart432.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 Id="rId8" Type="http://schemas.openxmlformats.org/officeDocument/2006/relationships/chart" Target="../charts/chart435.xml"/><Relationship Id="rId9" Type="http://schemas.openxmlformats.org/officeDocument/2006/relationships/chart" Target="../charts/chart436.xml"/><Relationship Id="rId10" Type="http://schemas.openxmlformats.org/officeDocument/2006/relationships/chart" Target="../charts/chart437.xml"/><Relationship Id="rId11" Type="http://schemas.openxmlformats.org/officeDocument/2006/relationships/chart" Target="../charts/chart438.xml"/><Relationship Id="rId12" Type="http://schemas.openxmlformats.org/officeDocument/2006/relationships/chart" Target="../charts/chart439.xml"/><Relationship Id="rId13" Type="http://schemas.openxmlformats.org/officeDocument/2006/relationships/chart" Target="../charts/chart440.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1.xml"/><Relationship Id="rId7" Type="http://schemas.openxmlformats.org/officeDocument/2006/relationships/chart" Target="../charts/chart442.xml"/><Relationship Id="rId8" Type="http://schemas.openxmlformats.org/officeDocument/2006/relationships/chart" Target="../charts/chart443.xml"/><Relationship Id="rId9" Type="http://schemas.openxmlformats.org/officeDocument/2006/relationships/chart" Target="../charts/chart444.xml"/><Relationship Id="rId10" Type="http://schemas.openxmlformats.org/officeDocument/2006/relationships/chart" Target="../charts/chart445.xml"/><Relationship Id="rId11" Type="http://schemas.openxmlformats.org/officeDocument/2006/relationships/chart" Target="../charts/chart446.xml"/><Relationship Id="rId12" Type="http://schemas.openxmlformats.org/officeDocument/2006/relationships/chart" Target="../charts/chart447.xml"/><Relationship Id="rId13" Type="http://schemas.openxmlformats.org/officeDocument/2006/relationships/chart" Target="../charts/chart448.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9.xml"/><Relationship Id="rId7" Type="http://schemas.openxmlformats.org/officeDocument/2006/relationships/chart" Target="../charts/chart450.xml"/><Relationship Id="rId8" Type="http://schemas.openxmlformats.org/officeDocument/2006/relationships/chart" Target="../charts/chart451.xml"/><Relationship Id="rId9" Type="http://schemas.openxmlformats.org/officeDocument/2006/relationships/chart" Target="../charts/chart452.xml"/><Relationship Id="rId10" Type="http://schemas.openxmlformats.org/officeDocument/2006/relationships/chart" Target="../charts/chart453.xml"/><Relationship Id="rId11" Type="http://schemas.openxmlformats.org/officeDocument/2006/relationships/chart" Target="../charts/chart454.xml"/><Relationship Id="rId12" Type="http://schemas.openxmlformats.org/officeDocument/2006/relationships/chart" Target="../charts/chart455.xml"/><Relationship Id="rId13" Type="http://schemas.openxmlformats.org/officeDocument/2006/relationships/chart" Target="../charts/chart456.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 Id="rId7" Type="http://schemas.openxmlformats.org/officeDocument/2006/relationships/chart" Target="../charts/chart458.xml"/><Relationship Id="rId8" Type="http://schemas.openxmlformats.org/officeDocument/2006/relationships/chart" Target="../charts/chart459.xml"/><Relationship Id="rId9" Type="http://schemas.openxmlformats.org/officeDocument/2006/relationships/chart" Target="../charts/chart460.xml"/><Relationship Id="rId10" Type="http://schemas.openxmlformats.org/officeDocument/2006/relationships/chart" Target="../charts/chart461.xml"/><Relationship Id="rId11" Type="http://schemas.openxmlformats.org/officeDocument/2006/relationships/chart" Target="../charts/chart462.xml"/><Relationship Id="rId12" Type="http://schemas.openxmlformats.org/officeDocument/2006/relationships/chart" Target="../charts/chart463.xml"/><Relationship Id="rId13" Type="http://schemas.openxmlformats.org/officeDocument/2006/relationships/chart" Target="../charts/chart464.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5.xml"/><Relationship Id="rId7" Type="http://schemas.openxmlformats.org/officeDocument/2006/relationships/chart" Target="../charts/chart466.xml"/><Relationship Id="rId8" Type="http://schemas.openxmlformats.org/officeDocument/2006/relationships/chart" Target="../charts/chart467.xml"/><Relationship Id="rId9" Type="http://schemas.openxmlformats.org/officeDocument/2006/relationships/chart" Target="../charts/chart468.xml"/><Relationship Id="rId10" Type="http://schemas.openxmlformats.org/officeDocument/2006/relationships/chart" Target="../charts/chart469.xml"/><Relationship Id="rId11" Type="http://schemas.openxmlformats.org/officeDocument/2006/relationships/chart" Target="../charts/chart470.xml"/><Relationship Id="rId12" Type="http://schemas.openxmlformats.org/officeDocument/2006/relationships/chart" Target="../charts/chart471.xml"/><Relationship Id="rId13" Type="http://schemas.openxmlformats.org/officeDocument/2006/relationships/chart" Target="../charts/chart472.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3.xml"/><Relationship Id="rId7" Type="http://schemas.openxmlformats.org/officeDocument/2006/relationships/chart" Target="../charts/chart474.xml"/><Relationship Id="rId8" Type="http://schemas.openxmlformats.org/officeDocument/2006/relationships/chart" Target="../charts/chart475.xml"/><Relationship Id="rId9" Type="http://schemas.openxmlformats.org/officeDocument/2006/relationships/chart" Target="../charts/chart476.xml"/><Relationship Id="rId10" Type="http://schemas.openxmlformats.org/officeDocument/2006/relationships/chart" Target="../charts/chart477.xml"/><Relationship Id="rId11" Type="http://schemas.openxmlformats.org/officeDocument/2006/relationships/chart" Target="../charts/chart478.xml"/><Relationship Id="rId12" Type="http://schemas.openxmlformats.org/officeDocument/2006/relationships/chart" Target="../charts/chart479.xml"/><Relationship Id="rId13" Type="http://schemas.openxmlformats.org/officeDocument/2006/relationships/chart" Target="../charts/chart48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 Id="rId8" Type="http://schemas.openxmlformats.org/officeDocument/2006/relationships/chart" Target="../charts/chart483.xml"/><Relationship Id="rId9" Type="http://schemas.openxmlformats.org/officeDocument/2006/relationships/chart" Target="../charts/chart484.xml"/><Relationship Id="rId10" Type="http://schemas.openxmlformats.org/officeDocument/2006/relationships/chart" Target="../charts/chart485.xml"/><Relationship Id="rId11" Type="http://schemas.openxmlformats.org/officeDocument/2006/relationships/chart" Target="../charts/chart486.xml"/><Relationship Id="rId12" Type="http://schemas.openxmlformats.org/officeDocument/2006/relationships/chart" Target="../charts/chart487.xml"/><Relationship Id="rId13" Type="http://schemas.openxmlformats.org/officeDocument/2006/relationships/chart" Target="../charts/chart488.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9.xml"/><Relationship Id="rId7" Type="http://schemas.openxmlformats.org/officeDocument/2006/relationships/chart" Target="../charts/chart490.xml"/><Relationship Id="rId8" Type="http://schemas.openxmlformats.org/officeDocument/2006/relationships/chart" Target="../charts/chart491.xml"/><Relationship Id="rId9" Type="http://schemas.openxmlformats.org/officeDocument/2006/relationships/chart" Target="../charts/chart492.xml"/><Relationship Id="rId10" Type="http://schemas.openxmlformats.org/officeDocument/2006/relationships/chart" Target="../charts/chart493.xml"/><Relationship Id="rId11" Type="http://schemas.openxmlformats.org/officeDocument/2006/relationships/chart" Target="../charts/chart494.xml"/><Relationship Id="rId12" Type="http://schemas.openxmlformats.org/officeDocument/2006/relationships/chart" Target="../charts/chart495.xml"/><Relationship Id="rId13" Type="http://schemas.openxmlformats.org/officeDocument/2006/relationships/chart" Target="../charts/chart496.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7.xml"/><Relationship Id="rId7" Type="http://schemas.openxmlformats.org/officeDocument/2006/relationships/chart" Target="../charts/chart498.xml"/><Relationship Id="rId8" Type="http://schemas.openxmlformats.org/officeDocument/2006/relationships/chart" Target="../charts/chart499.xml"/><Relationship Id="rId9" Type="http://schemas.openxmlformats.org/officeDocument/2006/relationships/chart" Target="../charts/chart500.xml"/><Relationship Id="rId10" Type="http://schemas.openxmlformats.org/officeDocument/2006/relationships/chart" Target="../charts/chart501.xml"/><Relationship Id="rId11" Type="http://schemas.openxmlformats.org/officeDocument/2006/relationships/chart" Target="../charts/chart502.xml"/><Relationship Id="rId12" Type="http://schemas.openxmlformats.org/officeDocument/2006/relationships/chart" Target="../charts/chart503.xml"/><Relationship Id="rId13" Type="http://schemas.openxmlformats.org/officeDocument/2006/relationships/chart" Target="../charts/chart504.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5.xml"/><Relationship Id="rId7" Type="http://schemas.openxmlformats.org/officeDocument/2006/relationships/chart" Target="../charts/chart506.xml"/><Relationship Id="rId8" Type="http://schemas.openxmlformats.org/officeDocument/2006/relationships/chart" Target="../charts/chart507.xml"/><Relationship Id="rId9" Type="http://schemas.openxmlformats.org/officeDocument/2006/relationships/chart" Target="../charts/chart508.xml"/><Relationship Id="rId10" Type="http://schemas.openxmlformats.org/officeDocument/2006/relationships/chart" Target="../charts/chart509.xml"/><Relationship Id="rId11" Type="http://schemas.openxmlformats.org/officeDocument/2006/relationships/chart" Target="../charts/chart510.xml"/><Relationship Id="rId12" Type="http://schemas.openxmlformats.org/officeDocument/2006/relationships/chart" Target="../charts/chart511.xml"/><Relationship Id="rId13" Type="http://schemas.openxmlformats.org/officeDocument/2006/relationships/chart" Target="../charts/chart512.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3.xml"/><Relationship Id="rId7" Type="http://schemas.openxmlformats.org/officeDocument/2006/relationships/chart" Target="../charts/chart514.xml"/><Relationship Id="rId8" Type="http://schemas.openxmlformats.org/officeDocument/2006/relationships/chart" Target="../charts/chart515.xml"/><Relationship Id="rId9" Type="http://schemas.openxmlformats.org/officeDocument/2006/relationships/chart" Target="../charts/chart516.xml"/><Relationship Id="rId10" Type="http://schemas.openxmlformats.org/officeDocument/2006/relationships/chart" Target="../charts/chart517.xml"/><Relationship Id="rId11" Type="http://schemas.openxmlformats.org/officeDocument/2006/relationships/chart" Target="../charts/chart518.xml"/><Relationship Id="rId12" Type="http://schemas.openxmlformats.org/officeDocument/2006/relationships/chart" Target="../charts/chart519.xml"/><Relationship Id="rId13" Type="http://schemas.openxmlformats.org/officeDocument/2006/relationships/chart" Target="../charts/chart520.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1.xml"/><Relationship Id="rId7" Type="http://schemas.openxmlformats.org/officeDocument/2006/relationships/chart" Target="../charts/chart522.xml"/><Relationship Id="rId8" Type="http://schemas.openxmlformats.org/officeDocument/2006/relationships/chart" Target="../charts/chart523.xml"/><Relationship Id="rId9" Type="http://schemas.openxmlformats.org/officeDocument/2006/relationships/chart" Target="../charts/chart524.xml"/><Relationship Id="rId10" Type="http://schemas.openxmlformats.org/officeDocument/2006/relationships/chart" Target="../charts/chart525.xml"/><Relationship Id="rId11" Type="http://schemas.openxmlformats.org/officeDocument/2006/relationships/chart" Target="../charts/chart526.xml"/><Relationship Id="rId12" Type="http://schemas.openxmlformats.org/officeDocument/2006/relationships/chart" Target="../charts/chart527.xml"/><Relationship Id="rId13" Type="http://schemas.openxmlformats.org/officeDocument/2006/relationships/chart" Target="../charts/chart528.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7.xml"/><Relationship Id="rId7" Type="http://schemas.openxmlformats.org/officeDocument/2006/relationships/chart" Target="../charts/chart538.xml"/><Relationship Id="rId8" Type="http://schemas.openxmlformats.org/officeDocument/2006/relationships/chart" Target="../charts/chart539.xml"/><Relationship Id="rId9" Type="http://schemas.openxmlformats.org/officeDocument/2006/relationships/chart" Target="../charts/chart540.xml"/><Relationship Id="rId10" Type="http://schemas.openxmlformats.org/officeDocument/2006/relationships/chart" Target="../charts/chart541.xml"/><Relationship Id="rId11" Type="http://schemas.openxmlformats.org/officeDocument/2006/relationships/chart" Target="../charts/chart542.xml"/><Relationship Id="rId12" Type="http://schemas.openxmlformats.org/officeDocument/2006/relationships/chart" Target="../charts/chart543.xml"/><Relationship Id="rId13" Type="http://schemas.openxmlformats.org/officeDocument/2006/relationships/chart" Target="../charts/chart544.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5.xml"/><Relationship Id="rId7" Type="http://schemas.openxmlformats.org/officeDocument/2006/relationships/chart" Target="../charts/chart546.xml"/><Relationship Id="rId8" Type="http://schemas.openxmlformats.org/officeDocument/2006/relationships/chart" Target="../charts/chart547.xml"/><Relationship Id="rId9" Type="http://schemas.openxmlformats.org/officeDocument/2006/relationships/chart" Target="../charts/chart548.xml"/><Relationship Id="rId10" Type="http://schemas.openxmlformats.org/officeDocument/2006/relationships/chart" Target="../charts/chart549.xml"/><Relationship Id="rId11" Type="http://schemas.openxmlformats.org/officeDocument/2006/relationships/chart" Target="../charts/chart550.xml"/><Relationship Id="rId12" Type="http://schemas.openxmlformats.org/officeDocument/2006/relationships/chart" Target="../charts/chart551.xml"/><Relationship Id="rId13" Type="http://schemas.openxmlformats.org/officeDocument/2006/relationships/chart" Target="../charts/chart55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3.xml"/><Relationship Id="rId7" Type="http://schemas.openxmlformats.org/officeDocument/2006/relationships/chart" Target="../charts/chart554.xml"/><Relationship Id="rId8" Type="http://schemas.openxmlformats.org/officeDocument/2006/relationships/chart" Target="../charts/chart555.xml"/><Relationship Id="rId9" Type="http://schemas.openxmlformats.org/officeDocument/2006/relationships/chart" Target="../charts/chart556.xml"/><Relationship Id="rId10" Type="http://schemas.openxmlformats.org/officeDocument/2006/relationships/chart" Target="../charts/chart557.xml"/><Relationship Id="rId11" Type="http://schemas.openxmlformats.org/officeDocument/2006/relationships/chart" Target="../charts/chart558.xml"/><Relationship Id="rId12" Type="http://schemas.openxmlformats.org/officeDocument/2006/relationships/chart" Target="../charts/chart559.xml"/><Relationship Id="rId13" Type="http://schemas.openxmlformats.org/officeDocument/2006/relationships/chart" Target="../charts/chart56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1.xml"/><Relationship Id="rId7" Type="http://schemas.openxmlformats.org/officeDocument/2006/relationships/chart" Target="../charts/chart562.xml"/><Relationship Id="rId8" Type="http://schemas.openxmlformats.org/officeDocument/2006/relationships/chart" Target="../charts/chart563.xml"/><Relationship Id="rId9" Type="http://schemas.openxmlformats.org/officeDocument/2006/relationships/chart" Target="../charts/chart564.xml"/><Relationship Id="rId10" Type="http://schemas.openxmlformats.org/officeDocument/2006/relationships/chart" Target="../charts/chart565.xml"/><Relationship Id="rId11" Type="http://schemas.openxmlformats.org/officeDocument/2006/relationships/chart" Target="../charts/chart566.xml"/><Relationship Id="rId12" Type="http://schemas.openxmlformats.org/officeDocument/2006/relationships/chart" Target="../charts/chart567.xml"/><Relationship Id="rId13" Type="http://schemas.openxmlformats.org/officeDocument/2006/relationships/chart" Target="../charts/chart568.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9.xml"/><Relationship Id="rId7" Type="http://schemas.openxmlformats.org/officeDocument/2006/relationships/chart" Target="../charts/chart570.xml"/><Relationship Id="rId8" Type="http://schemas.openxmlformats.org/officeDocument/2006/relationships/chart" Target="../charts/chart571.xml"/><Relationship Id="rId9" Type="http://schemas.openxmlformats.org/officeDocument/2006/relationships/chart" Target="../charts/chart572.xml"/><Relationship Id="rId10" Type="http://schemas.openxmlformats.org/officeDocument/2006/relationships/chart" Target="../charts/chart573.xml"/><Relationship Id="rId11" Type="http://schemas.openxmlformats.org/officeDocument/2006/relationships/chart" Target="../charts/chart574.xml"/><Relationship Id="rId12" Type="http://schemas.openxmlformats.org/officeDocument/2006/relationships/chart" Target="../charts/chart575.xml"/><Relationship Id="rId13" Type="http://schemas.openxmlformats.org/officeDocument/2006/relationships/chart" Target="../charts/chart576.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7.xml"/><Relationship Id="rId7" Type="http://schemas.openxmlformats.org/officeDocument/2006/relationships/chart" Target="../charts/chart578.xml"/><Relationship Id="rId8" Type="http://schemas.openxmlformats.org/officeDocument/2006/relationships/chart" Target="../charts/chart579.xml"/><Relationship Id="rId9" Type="http://schemas.openxmlformats.org/officeDocument/2006/relationships/chart" Target="../charts/chart580.xml"/><Relationship Id="rId10" Type="http://schemas.openxmlformats.org/officeDocument/2006/relationships/chart" Target="../charts/chart581.xml"/><Relationship Id="rId11" Type="http://schemas.openxmlformats.org/officeDocument/2006/relationships/chart" Target="../charts/chart582.xml"/><Relationship Id="rId12" Type="http://schemas.openxmlformats.org/officeDocument/2006/relationships/chart" Target="../charts/chart583.xml"/><Relationship Id="rId13" Type="http://schemas.openxmlformats.org/officeDocument/2006/relationships/chart" Target="../charts/chart584.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5.xml"/><Relationship Id="rId7" Type="http://schemas.openxmlformats.org/officeDocument/2006/relationships/chart" Target="../charts/chart586.xml"/><Relationship Id="rId8" Type="http://schemas.openxmlformats.org/officeDocument/2006/relationships/chart" Target="../charts/chart587.xml"/><Relationship Id="rId9" Type="http://schemas.openxmlformats.org/officeDocument/2006/relationships/chart" Target="../charts/chart588.xml"/><Relationship Id="rId10" Type="http://schemas.openxmlformats.org/officeDocument/2006/relationships/chart" Target="../charts/chart589.xml"/><Relationship Id="rId11" Type="http://schemas.openxmlformats.org/officeDocument/2006/relationships/chart" Target="../charts/chart590.xml"/><Relationship Id="rId12" Type="http://schemas.openxmlformats.org/officeDocument/2006/relationships/chart" Target="../charts/chart591.xml"/><Relationship Id="rId13" Type="http://schemas.openxmlformats.org/officeDocument/2006/relationships/chart" Target="../charts/chart592.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3.xml"/><Relationship Id="rId7" Type="http://schemas.openxmlformats.org/officeDocument/2006/relationships/chart" Target="../charts/chart594.xml"/><Relationship Id="rId8" Type="http://schemas.openxmlformats.org/officeDocument/2006/relationships/chart" Target="../charts/chart595.xml"/><Relationship Id="rId9" Type="http://schemas.openxmlformats.org/officeDocument/2006/relationships/chart" Target="../charts/chart596.xml"/><Relationship Id="rId10" Type="http://schemas.openxmlformats.org/officeDocument/2006/relationships/chart" Target="../charts/chart597.xml"/><Relationship Id="rId11" Type="http://schemas.openxmlformats.org/officeDocument/2006/relationships/chart" Target="../charts/chart598.xml"/><Relationship Id="rId12" Type="http://schemas.openxmlformats.org/officeDocument/2006/relationships/chart" Target="../charts/chart599.xml"/><Relationship Id="rId13" Type="http://schemas.openxmlformats.org/officeDocument/2006/relationships/chart" Target="../charts/chart600.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1.xml"/><Relationship Id="rId7" Type="http://schemas.openxmlformats.org/officeDocument/2006/relationships/chart" Target="../charts/chart602.xml"/><Relationship Id="rId8" Type="http://schemas.openxmlformats.org/officeDocument/2006/relationships/chart" Target="../charts/chart603.xml"/><Relationship Id="rId9" Type="http://schemas.openxmlformats.org/officeDocument/2006/relationships/chart" Target="../charts/chart604.xml"/><Relationship Id="rId10" Type="http://schemas.openxmlformats.org/officeDocument/2006/relationships/chart" Target="../charts/chart605.xml"/><Relationship Id="rId11" Type="http://schemas.openxmlformats.org/officeDocument/2006/relationships/chart" Target="../charts/chart606.xml"/><Relationship Id="rId12" Type="http://schemas.openxmlformats.org/officeDocument/2006/relationships/chart" Target="../charts/chart607.xml"/><Relationship Id="rId13" Type="http://schemas.openxmlformats.org/officeDocument/2006/relationships/chart" Target="../charts/chart608.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9.xml"/><Relationship Id="rId7" Type="http://schemas.openxmlformats.org/officeDocument/2006/relationships/chart" Target="../charts/chart610.xml"/><Relationship Id="rId8" Type="http://schemas.openxmlformats.org/officeDocument/2006/relationships/chart" Target="../charts/chart611.xml"/><Relationship Id="rId9" Type="http://schemas.openxmlformats.org/officeDocument/2006/relationships/chart" Target="../charts/chart612.xml"/><Relationship Id="rId10" Type="http://schemas.openxmlformats.org/officeDocument/2006/relationships/chart" Target="../charts/chart613.xml"/><Relationship Id="rId11" Type="http://schemas.openxmlformats.org/officeDocument/2006/relationships/chart" Target="../charts/chart614.xml"/><Relationship Id="rId12" Type="http://schemas.openxmlformats.org/officeDocument/2006/relationships/chart" Target="../charts/chart615.xml"/><Relationship Id="rId13" Type="http://schemas.openxmlformats.org/officeDocument/2006/relationships/chart" Target="../charts/chart616.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7.xml"/><Relationship Id="rId7" Type="http://schemas.openxmlformats.org/officeDocument/2006/relationships/chart" Target="../charts/chart618.xml"/><Relationship Id="rId8" Type="http://schemas.openxmlformats.org/officeDocument/2006/relationships/chart" Target="../charts/chart619.xml"/><Relationship Id="rId9" Type="http://schemas.openxmlformats.org/officeDocument/2006/relationships/chart" Target="../charts/chart620.xml"/><Relationship Id="rId10" Type="http://schemas.openxmlformats.org/officeDocument/2006/relationships/chart" Target="../charts/chart621.xml"/><Relationship Id="rId11" Type="http://schemas.openxmlformats.org/officeDocument/2006/relationships/chart" Target="../charts/chart622.xml"/><Relationship Id="rId12" Type="http://schemas.openxmlformats.org/officeDocument/2006/relationships/chart" Target="../charts/chart623.xml"/><Relationship Id="rId13" Type="http://schemas.openxmlformats.org/officeDocument/2006/relationships/chart" Target="../charts/chart624.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5.xml"/><Relationship Id="rId7" Type="http://schemas.openxmlformats.org/officeDocument/2006/relationships/chart" Target="../charts/chart626.xml"/><Relationship Id="rId8" Type="http://schemas.openxmlformats.org/officeDocument/2006/relationships/chart" Target="../charts/chart627.xml"/><Relationship Id="rId9" Type="http://schemas.openxmlformats.org/officeDocument/2006/relationships/chart" Target="../charts/chart628.xml"/><Relationship Id="rId10" Type="http://schemas.openxmlformats.org/officeDocument/2006/relationships/chart" Target="../charts/chart629.xml"/><Relationship Id="rId11" Type="http://schemas.openxmlformats.org/officeDocument/2006/relationships/chart" Target="../charts/chart630.xml"/><Relationship Id="rId12" Type="http://schemas.openxmlformats.org/officeDocument/2006/relationships/chart" Target="../charts/chart631.xml"/><Relationship Id="rId13" Type="http://schemas.openxmlformats.org/officeDocument/2006/relationships/chart" Target="../charts/chart632.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3.xml"/><Relationship Id="rId7" Type="http://schemas.openxmlformats.org/officeDocument/2006/relationships/chart" Target="../charts/chart634.xml"/><Relationship Id="rId8" Type="http://schemas.openxmlformats.org/officeDocument/2006/relationships/chart" Target="../charts/chart635.xml"/><Relationship Id="rId9" Type="http://schemas.openxmlformats.org/officeDocument/2006/relationships/chart" Target="../charts/chart636.xml"/><Relationship Id="rId10" Type="http://schemas.openxmlformats.org/officeDocument/2006/relationships/chart" Target="../charts/chart637.xml"/><Relationship Id="rId11" Type="http://schemas.openxmlformats.org/officeDocument/2006/relationships/chart" Target="../charts/chart638.xml"/><Relationship Id="rId12" Type="http://schemas.openxmlformats.org/officeDocument/2006/relationships/chart" Target="../charts/chart639.xml"/><Relationship Id="rId13" Type="http://schemas.openxmlformats.org/officeDocument/2006/relationships/chart" Target="../charts/chart64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1.xml"/><Relationship Id="rId7" Type="http://schemas.openxmlformats.org/officeDocument/2006/relationships/chart" Target="../charts/chart642.xml"/><Relationship Id="rId8" Type="http://schemas.openxmlformats.org/officeDocument/2006/relationships/chart" Target="../charts/chart643.xml"/><Relationship Id="rId9" Type="http://schemas.openxmlformats.org/officeDocument/2006/relationships/chart" Target="../charts/chart644.xml"/><Relationship Id="rId10" Type="http://schemas.openxmlformats.org/officeDocument/2006/relationships/chart" Target="../charts/chart645.xml"/><Relationship Id="rId11" Type="http://schemas.openxmlformats.org/officeDocument/2006/relationships/chart" Target="../charts/chart646.xml"/><Relationship Id="rId12" Type="http://schemas.openxmlformats.org/officeDocument/2006/relationships/chart" Target="../charts/chart647.xml"/><Relationship Id="rId13" Type="http://schemas.openxmlformats.org/officeDocument/2006/relationships/chart" Target="../charts/chart648.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9.xml"/><Relationship Id="rId7" Type="http://schemas.openxmlformats.org/officeDocument/2006/relationships/chart" Target="../charts/chart650.xml"/><Relationship Id="rId8" Type="http://schemas.openxmlformats.org/officeDocument/2006/relationships/chart" Target="../charts/chart651.xml"/><Relationship Id="rId9" Type="http://schemas.openxmlformats.org/officeDocument/2006/relationships/chart" Target="../charts/chart652.xml"/><Relationship Id="rId10" Type="http://schemas.openxmlformats.org/officeDocument/2006/relationships/chart" Target="../charts/chart653.xml"/><Relationship Id="rId11" Type="http://schemas.openxmlformats.org/officeDocument/2006/relationships/chart" Target="../charts/chart654.xml"/><Relationship Id="rId12" Type="http://schemas.openxmlformats.org/officeDocument/2006/relationships/chart" Target="../charts/chart655.xml"/><Relationship Id="rId13" Type="http://schemas.openxmlformats.org/officeDocument/2006/relationships/chart" Target="../charts/chart656.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7.xml"/><Relationship Id="rId7" Type="http://schemas.openxmlformats.org/officeDocument/2006/relationships/chart" Target="../charts/chart658.xml"/><Relationship Id="rId8" Type="http://schemas.openxmlformats.org/officeDocument/2006/relationships/chart" Target="../charts/chart659.xml"/><Relationship Id="rId9" Type="http://schemas.openxmlformats.org/officeDocument/2006/relationships/chart" Target="../charts/chart660.xml"/><Relationship Id="rId10" Type="http://schemas.openxmlformats.org/officeDocument/2006/relationships/chart" Target="../charts/chart661.xml"/><Relationship Id="rId11" Type="http://schemas.openxmlformats.org/officeDocument/2006/relationships/chart" Target="../charts/chart662.xml"/><Relationship Id="rId12" Type="http://schemas.openxmlformats.org/officeDocument/2006/relationships/chart" Target="../charts/chart663.xml"/><Relationship Id="rId13" Type="http://schemas.openxmlformats.org/officeDocument/2006/relationships/chart" Target="../charts/chart664.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5.xml"/><Relationship Id="rId7" Type="http://schemas.openxmlformats.org/officeDocument/2006/relationships/chart" Target="../charts/chart666.xml"/><Relationship Id="rId8" Type="http://schemas.openxmlformats.org/officeDocument/2006/relationships/chart" Target="../charts/chart667.xml"/><Relationship Id="rId9" Type="http://schemas.openxmlformats.org/officeDocument/2006/relationships/chart" Target="../charts/chart668.xml"/><Relationship Id="rId10" Type="http://schemas.openxmlformats.org/officeDocument/2006/relationships/chart" Target="../charts/chart669.xml"/><Relationship Id="rId11" Type="http://schemas.openxmlformats.org/officeDocument/2006/relationships/chart" Target="../charts/chart670.xml"/><Relationship Id="rId12" Type="http://schemas.openxmlformats.org/officeDocument/2006/relationships/chart" Target="../charts/chart671.xml"/><Relationship Id="rId13" Type="http://schemas.openxmlformats.org/officeDocument/2006/relationships/chart" Target="../charts/chart672.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3.xml"/><Relationship Id="rId7" Type="http://schemas.openxmlformats.org/officeDocument/2006/relationships/chart" Target="../charts/chart674.xml"/><Relationship Id="rId8" Type="http://schemas.openxmlformats.org/officeDocument/2006/relationships/chart" Target="../charts/chart675.xml"/><Relationship Id="rId9" Type="http://schemas.openxmlformats.org/officeDocument/2006/relationships/chart" Target="../charts/chart676.xml"/><Relationship Id="rId10" Type="http://schemas.openxmlformats.org/officeDocument/2006/relationships/chart" Target="../charts/chart677.xml"/><Relationship Id="rId11" Type="http://schemas.openxmlformats.org/officeDocument/2006/relationships/chart" Target="../charts/chart678.xml"/><Relationship Id="rId12" Type="http://schemas.openxmlformats.org/officeDocument/2006/relationships/chart" Target="../charts/chart679.xml"/><Relationship Id="rId13" Type="http://schemas.openxmlformats.org/officeDocument/2006/relationships/chart" Target="../charts/chart680.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1.xml"/><Relationship Id="rId7" Type="http://schemas.openxmlformats.org/officeDocument/2006/relationships/chart" Target="../charts/chart682.xml"/><Relationship Id="rId8" Type="http://schemas.openxmlformats.org/officeDocument/2006/relationships/chart" Target="../charts/chart683.xml"/><Relationship Id="rId9" Type="http://schemas.openxmlformats.org/officeDocument/2006/relationships/chart" Target="../charts/chart684.xml"/><Relationship Id="rId10" Type="http://schemas.openxmlformats.org/officeDocument/2006/relationships/chart" Target="../charts/chart685.xml"/><Relationship Id="rId11" Type="http://schemas.openxmlformats.org/officeDocument/2006/relationships/chart" Target="../charts/chart686.xml"/><Relationship Id="rId12" Type="http://schemas.openxmlformats.org/officeDocument/2006/relationships/chart" Target="../charts/chart687.xml"/><Relationship Id="rId13" Type="http://schemas.openxmlformats.org/officeDocument/2006/relationships/chart" Target="../charts/chart688.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9.xml"/><Relationship Id="rId7" Type="http://schemas.openxmlformats.org/officeDocument/2006/relationships/chart" Target="../charts/chart690.xml"/><Relationship Id="rId8" Type="http://schemas.openxmlformats.org/officeDocument/2006/relationships/chart" Target="../charts/chart691.xml"/><Relationship Id="rId9" Type="http://schemas.openxmlformats.org/officeDocument/2006/relationships/chart" Target="../charts/chart692.xml"/><Relationship Id="rId10" Type="http://schemas.openxmlformats.org/officeDocument/2006/relationships/chart" Target="../charts/chart693.xml"/><Relationship Id="rId11" Type="http://schemas.openxmlformats.org/officeDocument/2006/relationships/chart" Target="../charts/chart694.xml"/><Relationship Id="rId12" Type="http://schemas.openxmlformats.org/officeDocument/2006/relationships/chart" Target="../charts/chart695.xml"/><Relationship Id="rId13" Type="http://schemas.openxmlformats.org/officeDocument/2006/relationships/chart" Target="../charts/chart696.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7.xml"/><Relationship Id="rId7" Type="http://schemas.openxmlformats.org/officeDocument/2006/relationships/chart" Target="../charts/chart698.xml"/><Relationship Id="rId8" Type="http://schemas.openxmlformats.org/officeDocument/2006/relationships/chart" Target="../charts/chart699.xml"/><Relationship Id="rId9" Type="http://schemas.openxmlformats.org/officeDocument/2006/relationships/chart" Target="../charts/chart700.xml"/><Relationship Id="rId10" Type="http://schemas.openxmlformats.org/officeDocument/2006/relationships/chart" Target="../charts/chart701.xml"/><Relationship Id="rId11" Type="http://schemas.openxmlformats.org/officeDocument/2006/relationships/chart" Target="../charts/chart702.xml"/><Relationship Id="rId12" Type="http://schemas.openxmlformats.org/officeDocument/2006/relationships/chart" Target="../charts/chart703.xml"/><Relationship Id="rId13" Type="http://schemas.openxmlformats.org/officeDocument/2006/relationships/chart" Target="../charts/chart704.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5.xml"/><Relationship Id="rId7" Type="http://schemas.openxmlformats.org/officeDocument/2006/relationships/chart" Target="../charts/chart706.xml"/><Relationship Id="rId8" Type="http://schemas.openxmlformats.org/officeDocument/2006/relationships/chart" Target="../charts/chart707.xml"/><Relationship Id="rId9" Type="http://schemas.openxmlformats.org/officeDocument/2006/relationships/chart" Target="../charts/chart708.xml"/><Relationship Id="rId10" Type="http://schemas.openxmlformats.org/officeDocument/2006/relationships/chart" Target="../charts/chart709.xml"/><Relationship Id="rId11" Type="http://schemas.openxmlformats.org/officeDocument/2006/relationships/chart" Target="../charts/chart710.xml"/><Relationship Id="rId12" Type="http://schemas.openxmlformats.org/officeDocument/2006/relationships/chart" Target="../charts/chart711.xml"/><Relationship Id="rId13" Type="http://schemas.openxmlformats.org/officeDocument/2006/relationships/chart" Target="../charts/chart712.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3.xml"/><Relationship Id="rId7" Type="http://schemas.openxmlformats.org/officeDocument/2006/relationships/chart" Target="../charts/chart714.xml"/><Relationship Id="rId8" Type="http://schemas.openxmlformats.org/officeDocument/2006/relationships/chart" Target="../charts/chart715.xml"/><Relationship Id="rId9" Type="http://schemas.openxmlformats.org/officeDocument/2006/relationships/chart" Target="../charts/chart716.xml"/><Relationship Id="rId10" Type="http://schemas.openxmlformats.org/officeDocument/2006/relationships/chart" Target="../charts/chart717.xml"/><Relationship Id="rId11" Type="http://schemas.openxmlformats.org/officeDocument/2006/relationships/chart" Target="../charts/chart718.xml"/><Relationship Id="rId12" Type="http://schemas.openxmlformats.org/officeDocument/2006/relationships/chart" Target="../charts/chart719.xml"/><Relationship Id="rId13" Type="http://schemas.openxmlformats.org/officeDocument/2006/relationships/chart" Target="../charts/chart7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63865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139003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316908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81810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432454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529823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488600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296480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340120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193041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58487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64726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337665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487763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589660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318367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672948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432597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634139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164810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802889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646937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297747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241466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972801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3350378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317634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0451945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661533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8706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0882546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914775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1031302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981215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191493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960408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6975192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976838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632450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8306161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4807832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71038522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1548095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722759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2871438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43364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2730742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1496347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6617729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691364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4940535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3448721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8684309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1501974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049303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1194128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8575790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97319916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9644479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41491624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007908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2127648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6624691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69818398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0108474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430269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0970311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1638205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11882110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9592421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4671741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0299187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3860769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34719618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68236855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0714679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2938382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0502964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25540510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5139386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333784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76806714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71291596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4620895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0007470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Ace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Aeroso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Emuls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58084991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Fl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Ge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Gel-Crema</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03728575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oci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Mous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Roll-O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erum</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2149631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4356453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Spray</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Sunscreen Stick</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737394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TotalTime>
  <Words>8910</Words>
  <Application>Microsoft Office PowerPoint</Application>
  <PresentationFormat>On-screen Show (16:9)</PresentationFormat>
  <Paragraphs>3150</Paragraphs>
  <Slides>90</Slides>
  <Notes>9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90</vt:i4>
      </vt:variant>
    </vt:vector>
  </HeadingPairs>
  <TitlesOfParts>
    <vt:vector size="101"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4</cp:revision>
  <dcterms:created xsi:type="dcterms:W3CDTF">2024-07-05T11:30:58Z</dcterms:created>
  <dcterms:modified xsi:type="dcterms:W3CDTF">2025-07-01T07:3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